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4"/>
  </p:sldMasterIdLst>
  <p:notesMasterIdLst>
    <p:notesMasterId r:id="rId17"/>
  </p:notesMasterIdLst>
  <p:handoutMasterIdLst>
    <p:handoutMasterId r:id="rId18"/>
  </p:handoutMasterIdLst>
  <p:sldIdLst>
    <p:sldId id="265" r:id="rId5"/>
    <p:sldId id="259" r:id="rId6"/>
    <p:sldId id="298" r:id="rId7"/>
    <p:sldId id="308" r:id="rId8"/>
    <p:sldId id="309" r:id="rId9"/>
    <p:sldId id="310" r:id="rId10"/>
    <p:sldId id="299" r:id="rId11"/>
    <p:sldId id="307" r:id="rId12"/>
    <p:sldId id="300" r:id="rId13"/>
    <p:sldId id="301" r:id="rId14"/>
    <p:sldId id="302" r:id="rId15"/>
    <p:sldId id="303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maya K Acharya" initials="TKA" lastIdx="2" clrIdx="0"/>
  <p:cmAuthor id="1" name="Uma M Ponniamman" initials="UMP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65242" autoAdjust="0"/>
  </p:normalViewPr>
  <p:slideViewPr>
    <p:cSldViewPr snapToGrid="0" showGuides="1">
      <p:cViewPr varScale="1">
        <p:scale>
          <a:sx n="52" d="100"/>
          <a:sy n="52" d="100"/>
        </p:scale>
        <p:origin x="1672" y="5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13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3DB6FE-130F-4B68-90ED-6D10C919E344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46D3E3A-6068-4BF1-9A16-488B9638913B}">
      <dgm:prSet phldrT="[Text]"/>
      <dgm:spPr/>
      <dgm:t>
        <a:bodyPr/>
        <a:lstStyle/>
        <a:p>
          <a:r>
            <a:rPr lang="en-US" dirty="0" smtClean="0"/>
            <a:t>Module Overview</a:t>
          </a:r>
          <a:endParaRPr lang="en-US" dirty="0"/>
        </a:p>
      </dgm:t>
    </dgm:pt>
    <dgm:pt modelId="{6189EDCF-6277-4EEA-8C3F-7BFF2B69147A}" type="parTrans" cxnId="{0518C964-B6F4-43DC-A214-75FBDA4E40C8}">
      <dgm:prSet/>
      <dgm:spPr/>
      <dgm:t>
        <a:bodyPr/>
        <a:lstStyle/>
        <a:p>
          <a:endParaRPr lang="en-US"/>
        </a:p>
      </dgm:t>
    </dgm:pt>
    <dgm:pt modelId="{23DBBA2F-6345-48BE-8E22-A613A852C49A}" type="sibTrans" cxnId="{0518C964-B6F4-43DC-A214-75FBDA4E40C8}">
      <dgm:prSet/>
      <dgm:spPr/>
      <dgm:t>
        <a:bodyPr/>
        <a:lstStyle/>
        <a:p>
          <a:endParaRPr lang="en-US"/>
        </a:p>
      </dgm:t>
    </dgm:pt>
    <dgm:pt modelId="{12BE5A0C-1CA4-49D5-8AEA-1658DD33DE84}">
      <dgm:prSet phldrT="[Text]"/>
      <dgm:spPr/>
      <dgm:t>
        <a:bodyPr/>
        <a:lstStyle/>
        <a:p>
          <a:r>
            <a:rPr lang="en-US" dirty="0" smtClean="0"/>
            <a:t>Creating a Deployment YAML</a:t>
          </a:r>
          <a:endParaRPr lang="en-US" dirty="0"/>
        </a:p>
      </dgm:t>
    </dgm:pt>
    <dgm:pt modelId="{57F88ED4-97D6-4FF6-9D53-3D075C6E0B04}" type="parTrans" cxnId="{55299798-0593-4AC2-83D9-0E9070822CFB}">
      <dgm:prSet/>
      <dgm:spPr/>
      <dgm:t>
        <a:bodyPr/>
        <a:lstStyle/>
        <a:p>
          <a:endParaRPr lang="en-US"/>
        </a:p>
      </dgm:t>
    </dgm:pt>
    <dgm:pt modelId="{D9AB8287-B450-4702-9C91-0CA2C70FCCA1}" type="sibTrans" cxnId="{55299798-0593-4AC2-83D9-0E9070822CFB}">
      <dgm:prSet/>
      <dgm:spPr/>
      <dgm:t>
        <a:bodyPr/>
        <a:lstStyle/>
        <a:p>
          <a:endParaRPr lang="en-US"/>
        </a:p>
      </dgm:t>
    </dgm:pt>
    <dgm:pt modelId="{9C1216E0-6A49-49D9-B857-F309EE68F332}">
      <dgm:prSet phldrT="[Text]"/>
      <dgm:spPr/>
      <dgm:t>
        <a:bodyPr/>
        <a:lstStyle/>
        <a:p>
          <a:r>
            <a:rPr lang="en-US" dirty="0" smtClean="0"/>
            <a:t>Deploying a Deployment</a:t>
          </a:r>
          <a:endParaRPr lang="en-US" dirty="0"/>
        </a:p>
      </dgm:t>
    </dgm:pt>
    <dgm:pt modelId="{556D1A99-3BE0-4D29-AD51-E2FF70914BF3}" type="parTrans" cxnId="{3D756219-19F4-470F-AFCA-0ADEB2A93E58}">
      <dgm:prSet/>
      <dgm:spPr/>
      <dgm:t>
        <a:bodyPr/>
        <a:lstStyle/>
        <a:p>
          <a:endParaRPr lang="en-US"/>
        </a:p>
      </dgm:t>
    </dgm:pt>
    <dgm:pt modelId="{AE3DDF08-B5D7-41D8-9B15-2C152A456625}" type="sibTrans" cxnId="{3D756219-19F4-470F-AFCA-0ADEB2A93E58}">
      <dgm:prSet/>
      <dgm:spPr/>
      <dgm:t>
        <a:bodyPr/>
        <a:lstStyle/>
        <a:p>
          <a:endParaRPr lang="en-US"/>
        </a:p>
      </dgm:t>
    </dgm:pt>
    <dgm:pt modelId="{CBD0A9E5-7A45-4F42-8877-54CE9AE2A5CE}">
      <dgm:prSet phldrT="[Text]"/>
      <dgm:spPr/>
      <dgm:t>
        <a:bodyPr/>
        <a:lstStyle/>
        <a:p>
          <a:r>
            <a:rPr lang="en-US" dirty="0" smtClean="0"/>
            <a:t>Kubernetes Deployment Theory</a:t>
          </a:r>
          <a:endParaRPr lang="en-US" dirty="0"/>
        </a:p>
      </dgm:t>
    </dgm:pt>
    <dgm:pt modelId="{E40920A0-67FB-432E-90C6-92A0A23C8F51}" type="parTrans" cxnId="{8FC11570-4121-468F-84CC-1317DAE90084}">
      <dgm:prSet/>
      <dgm:spPr/>
      <dgm:t>
        <a:bodyPr/>
        <a:lstStyle/>
        <a:p>
          <a:endParaRPr lang="en-US"/>
        </a:p>
      </dgm:t>
    </dgm:pt>
    <dgm:pt modelId="{46C25ADB-6C1A-42D7-B3EC-B4BA285EA8B2}" type="sibTrans" cxnId="{8FC11570-4121-468F-84CC-1317DAE90084}">
      <dgm:prSet/>
      <dgm:spPr/>
      <dgm:t>
        <a:bodyPr/>
        <a:lstStyle/>
        <a:p>
          <a:endParaRPr lang="en-US"/>
        </a:p>
      </dgm:t>
    </dgm:pt>
    <dgm:pt modelId="{B7ECB5C9-3ABC-414D-B204-64896C88B953}">
      <dgm:prSet phldrT="[Text]"/>
      <dgm:spPr/>
      <dgm:t>
        <a:bodyPr/>
        <a:lstStyle/>
        <a:p>
          <a:r>
            <a:rPr lang="en-US" dirty="0" smtClean="0"/>
            <a:t>Self-healing and Scaling</a:t>
          </a:r>
          <a:endParaRPr lang="en-US" dirty="0"/>
        </a:p>
      </dgm:t>
    </dgm:pt>
    <dgm:pt modelId="{4E5788D6-BFD2-427C-8174-1BB31C475152}" type="parTrans" cxnId="{BDB27C84-3C97-431C-A137-26F8C204F9AC}">
      <dgm:prSet/>
      <dgm:spPr/>
      <dgm:t>
        <a:bodyPr/>
        <a:lstStyle/>
        <a:p>
          <a:endParaRPr lang="en-US"/>
        </a:p>
      </dgm:t>
    </dgm:pt>
    <dgm:pt modelId="{03E60FBB-443A-4717-946A-005A85D13344}" type="sibTrans" cxnId="{BDB27C84-3C97-431C-A137-26F8C204F9AC}">
      <dgm:prSet/>
      <dgm:spPr/>
      <dgm:t>
        <a:bodyPr/>
        <a:lstStyle/>
        <a:p>
          <a:endParaRPr lang="en-US"/>
        </a:p>
      </dgm:t>
    </dgm:pt>
    <dgm:pt modelId="{D1BA4AF2-D04C-4CD3-BC39-1DA648AC7223}">
      <dgm:prSet phldrT="[Text]"/>
      <dgm:spPr/>
      <dgm:t>
        <a:bodyPr/>
        <a:lstStyle/>
        <a:p>
          <a:r>
            <a:rPr lang="en-US" dirty="0" smtClean="0"/>
            <a:t>Rolling Updates and Rollbacks</a:t>
          </a:r>
          <a:endParaRPr lang="en-US" dirty="0"/>
        </a:p>
      </dgm:t>
    </dgm:pt>
    <dgm:pt modelId="{6C14D868-462C-4CD2-89FE-7201FD8B068B}" type="parTrans" cxnId="{BDD6AFBA-54C9-4B6A-9E0C-190FE7F94038}">
      <dgm:prSet/>
      <dgm:spPr/>
      <dgm:t>
        <a:bodyPr/>
        <a:lstStyle/>
        <a:p>
          <a:endParaRPr lang="en-US"/>
        </a:p>
      </dgm:t>
    </dgm:pt>
    <dgm:pt modelId="{F6E4119A-DAB6-4B59-8D44-68926D2A5233}" type="sibTrans" cxnId="{BDD6AFBA-54C9-4B6A-9E0C-190FE7F94038}">
      <dgm:prSet/>
      <dgm:spPr/>
      <dgm:t>
        <a:bodyPr/>
        <a:lstStyle/>
        <a:p>
          <a:endParaRPr lang="en-US"/>
        </a:p>
      </dgm:t>
    </dgm:pt>
    <dgm:pt modelId="{1D9B425C-2F62-4234-BF52-C173A1F209F3}" type="pres">
      <dgm:prSet presAssocID="{FD3DB6FE-130F-4B68-90ED-6D10C919E344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FFB5BF43-93F9-4B20-9454-CCAB04976144}" type="pres">
      <dgm:prSet presAssocID="{846D3E3A-6068-4BF1-9A16-488B9638913B}" presName="parenttextcomposite" presStyleCnt="0"/>
      <dgm:spPr/>
    </dgm:pt>
    <dgm:pt modelId="{65656358-D990-414A-A2AA-6808AD41F3CF}" type="pres">
      <dgm:prSet presAssocID="{846D3E3A-6068-4BF1-9A16-488B9638913B}" presName="parenttext" presStyleLbl="revTx" presStyleIdx="0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14A427-52B9-4043-9AD8-F155F9CA695B}" type="pres">
      <dgm:prSet presAssocID="{846D3E3A-6068-4BF1-9A16-488B9638913B}" presName="parallelogramComposite" presStyleCnt="0"/>
      <dgm:spPr/>
    </dgm:pt>
    <dgm:pt modelId="{73EE8E2D-6812-40FB-AAE5-CE9CDC54C68B}" type="pres">
      <dgm:prSet presAssocID="{846D3E3A-6068-4BF1-9A16-488B9638913B}" presName="parallelogram1" presStyleLbl="alignNode1" presStyleIdx="0" presStyleCnt="42"/>
      <dgm:spPr/>
    </dgm:pt>
    <dgm:pt modelId="{68435188-FFC6-4458-9920-18C48127181C}" type="pres">
      <dgm:prSet presAssocID="{846D3E3A-6068-4BF1-9A16-488B9638913B}" presName="parallelogram2" presStyleLbl="alignNode1" presStyleIdx="1" presStyleCnt="42"/>
      <dgm:spPr/>
    </dgm:pt>
    <dgm:pt modelId="{93016C47-552A-4EAC-91E4-1D5442C86F5B}" type="pres">
      <dgm:prSet presAssocID="{846D3E3A-6068-4BF1-9A16-488B9638913B}" presName="parallelogram3" presStyleLbl="alignNode1" presStyleIdx="2" presStyleCnt="42"/>
      <dgm:spPr/>
    </dgm:pt>
    <dgm:pt modelId="{D1DCAEA6-20DB-459D-8638-2095852E5087}" type="pres">
      <dgm:prSet presAssocID="{846D3E3A-6068-4BF1-9A16-488B9638913B}" presName="parallelogram4" presStyleLbl="alignNode1" presStyleIdx="3" presStyleCnt="42"/>
      <dgm:spPr/>
    </dgm:pt>
    <dgm:pt modelId="{FF2134F3-43D3-4FB7-B7AD-27D514D796D0}" type="pres">
      <dgm:prSet presAssocID="{846D3E3A-6068-4BF1-9A16-488B9638913B}" presName="parallelogram5" presStyleLbl="alignNode1" presStyleIdx="4" presStyleCnt="42"/>
      <dgm:spPr/>
    </dgm:pt>
    <dgm:pt modelId="{D8D13CB1-BCDF-4B2F-927A-42061F45252D}" type="pres">
      <dgm:prSet presAssocID="{846D3E3A-6068-4BF1-9A16-488B9638913B}" presName="parallelogram6" presStyleLbl="alignNode1" presStyleIdx="5" presStyleCnt="42"/>
      <dgm:spPr/>
    </dgm:pt>
    <dgm:pt modelId="{C9A25E16-7DF4-498C-B0BE-E53C4594E1A5}" type="pres">
      <dgm:prSet presAssocID="{846D3E3A-6068-4BF1-9A16-488B9638913B}" presName="parallelogram7" presStyleLbl="alignNode1" presStyleIdx="6" presStyleCnt="42"/>
      <dgm:spPr/>
    </dgm:pt>
    <dgm:pt modelId="{A4CB07BE-AFD2-4E6D-86EE-38E4E26FE9DE}" type="pres">
      <dgm:prSet presAssocID="{23DBBA2F-6345-48BE-8E22-A613A852C49A}" presName="sibTrans" presStyleCnt="0"/>
      <dgm:spPr/>
    </dgm:pt>
    <dgm:pt modelId="{76031BDB-0AE0-49CE-AB4D-9D5D615E264C}" type="pres">
      <dgm:prSet presAssocID="{CBD0A9E5-7A45-4F42-8877-54CE9AE2A5CE}" presName="parenttextcomposite" presStyleCnt="0"/>
      <dgm:spPr/>
    </dgm:pt>
    <dgm:pt modelId="{B2A5D084-7BC6-4561-814F-2849CA63EA58}" type="pres">
      <dgm:prSet presAssocID="{CBD0A9E5-7A45-4F42-8877-54CE9AE2A5CE}" presName="parenttext" presStyleLbl="revTx" presStyleIdx="1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CF8EB4-B65C-4AE0-8BDE-BA382145AC87}" type="pres">
      <dgm:prSet presAssocID="{CBD0A9E5-7A45-4F42-8877-54CE9AE2A5CE}" presName="parallelogramComposite" presStyleCnt="0"/>
      <dgm:spPr/>
    </dgm:pt>
    <dgm:pt modelId="{E01FD87B-14DB-4D5E-8E57-399BE45FB165}" type="pres">
      <dgm:prSet presAssocID="{CBD0A9E5-7A45-4F42-8877-54CE9AE2A5CE}" presName="parallelogram1" presStyleLbl="alignNode1" presStyleIdx="7" presStyleCnt="42"/>
      <dgm:spPr/>
    </dgm:pt>
    <dgm:pt modelId="{23B7D716-4B36-4EE9-89A2-D0AAA1AB4764}" type="pres">
      <dgm:prSet presAssocID="{CBD0A9E5-7A45-4F42-8877-54CE9AE2A5CE}" presName="parallelogram2" presStyleLbl="alignNode1" presStyleIdx="8" presStyleCnt="42"/>
      <dgm:spPr/>
    </dgm:pt>
    <dgm:pt modelId="{389B14CF-2380-4D0A-9AA3-0F66693437B7}" type="pres">
      <dgm:prSet presAssocID="{CBD0A9E5-7A45-4F42-8877-54CE9AE2A5CE}" presName="parallelogram3" presStyleLbl="alignNode1" presStyleIdx="9" presStyleCnt="42"/>
      <dgm:spPr/>
    </dgm:pt>
    <dgm:pt modelId="{98884B77-BF7B-4FC0-9D00-51B5F17EBF7D}" type="pres">
      <dgm:prSet presAssocID="{CBD0A9E5-7A45-4F42-8877-54CE9AE2A5CE}" presName="parallelogram4" presStyleLbl="alignNode1" presStyleIdx="10" presStyleCnt="42"/>
      <dgm:spPr/>
    </dgm:pt>
    <dgm:pt modelId="{46529FEF-28B8-4E34-9C54-CF1E9C9C412B}" type="pres">
      <dgm:prSet presAssocID="{CBD0A9E5-7A45-4F42-8877-54CE9AE2A5CE}" presName="parallelogram5" presStyleLbl="alignNode1" presStyleIdx="11" presStyleCnt="42"/>
      <dgm:spPr/>
    </dgm:pt>
    <dgm:pt modelId="{7BC95DA3-A843-4CA2-AC28-E5BDD76F656A}" type="pres">
      <dgm:prSet presAssocID="{CBD0A9E5-7A45-4F42-8877-54CE9AE2A5CE}" presName="parallelogram6" presStyleLbl="alignNode1" presStyleIdx="12" presStyleCnt="42"/>
      <dgm:spPr/>
    </dgm:pt>
    <dgm:pt modelId="{CAF6C7A1-CEDA-4597-AD5E-9591CF252A12}" type="pres">
      <dgm:prSet presAssocID="{CBD0A9E5-7A45-4F42-8877-54CE9AE2A5CE}" presName="parallelogram7" presStyleLbl="alignNode1" presStyleIdx="13" presStyleCnt="42"/>
      <dgm:spPr/>
    </dgm:pt>
    <dgm:pt modelId="{4FAE2DE3-A553-4F6D-9146-46A3E2AF84FC}" type="pres">
      <dgm:prSet presAssocID="{46C25ADB-6C1A-42D7-B3EC-B4BA285EA8B2}" presName="sibTrans" presStyleCnt="0"/>
      <dgm:spPr/>
    </dgm:pt>
    <dgm:pt modelId="{51130C27-4940-4C94-B61B-B13854A50F45}" type="pres">
      <dgm:prSet presAssocID="{12BE5A0C-1CA4-49D5-8AEA-1658DD33DE84}" presName="parenttextcomposite" presStyleCnt="0"/>
      <dgm:spPr/>
    </dgm:pt>
    <dgm:pt modelId="{EB748BDC-6765-4BA8-AC5D-E654A94F3821}" type="pres">
      <dgm:prSet presAssocID="{12BE5A0C-1CA4-49D5-8AEA-1658DD33DE84}" presName="parenttext" presStyleLbl="revTx" presStyleIdx="2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2CEF75-D3FC-4E52-89EE-7A6A39592DA8}" type="pres">
      <dgm:prSet presAssocID="{12BE5A0C-1CA4-49D5-8AEA-1658DD33DE84}" presName="parallelogramComposite" presStyleCnt="0"/>
      <dgm:spPr/>
    </dgm:pt>
    <dgm:pt modelId="{B23D5DFF-277F-47EC-B766-254B7843A471}" type="pres">
      <dgm:prSet presAssocID="{12BE5A0C-1CA4-49D5-8AEA-1658DD33DE84}" presName="parallelogram1" presStyleLbl="alignNode1" presStyleIdx="14" presStyleCnt="42"/>
      <dgm:spPr/>
    </dgm:pt>
    <dgm:pt modelId="{5DC2C858-E7FD-454E-810F-3833E4F6A4FE}" type="pres">
      <dgm:prSet presAssocID="{12BE5A0C-1CA4-49D5-8AEA-1658DD33DE84}" presName="parallelogram2" presStyleLbl="alignNode1" presStyleIdx="15" presStyleCnt="42"/>
      <dgm:spPr/>
    </dgm:pt>
    <dgm:pt modelId="{D97A7113-372D-4E83-A998-04EBAEA17532}" type="pres">
      <dgm:prSet presAssocID="{12BE5A0C-1CA4-49D5-8AEA-1658DD33DE84}" presName="parallelogram3" presStyleLbl="alignNode1" presStyleIdx="16" presStyleCnt="42"/>
      <dgm:spPr/>
    </dgm:pt>
    <dgm:pt modelId="{27F9115D-69E8-4929-A843-4DA0FF8D50EC}" type="pres">
      <dgm:prSet presAssocID="{12BE5A0C-1CA4-49D5-8AEA-1658DD33DE84}" presName="parallelogram4" presStyleLbl="alignNode1" presStyleIdx="17" presStyleCnt="42"/>
      <dgm:spPr/>
    </dgm:pt>
    <dgm:pt modelId="{F4AD7304-F4B3-446A-B79E-0F71D30FD4BA}" type="pres">
      <dgm:prSet presAssocID="{12BE5A0C-1CA4-49D5-8AEA-1658DD33DE84}" presName="parallelogram5" presStyleLbl="alignNode1" presStyleIdx="18" presStyleCnt="42"/>
      <dgm:spPr/>
    </dgm:pt>
    <dgm:pt modelId="{C744AF08-7521-4F1F-B869-FF9FD3CD437B}" type="pres">
      <dgm:prSet presAssocID="{12BE5A0C-1CA4-49D5-8AEA-1658DD33DE84}" presName="parallelogram6" presStyleLbl="alignNode1" presStyleIdx="19" presStyleCnt="42"/>
      <dgm:spPr/>
    </dgm:pt>
    <dgm:pt modelId="{024A51C2-27BD-452A-9848-98953F73DAEE}" type="pres">
      <dgm:prSet presAssocID="{12BE5A0C-1CA4-49D5-8AEA-1658DD33DE84}" presName="parallelogram7" presStyleLbl="alignNode1" presStyleIdx="20" presStyleCnt="42"/>
      <dgm:spPr/>
    </dgm:pt>
    <dgm:pt modelId="{F8EBDEBF-11CE-4B5B-B8AC-565879422297}" type="pres">
      <dgm:prSet presAssocID="{D9AB8287-B450-4702-9C91-0CA2C70FCCA1}" presName="sibTrans" presStyleCnt="0"/>
      <dgm:spPr/>
    </dgm:pt>
    <dgm:pt modelId="{487C8EF6-3C51-47DD-9210-6B6268DAFE08}" type="pres">
      <dgm:prSet presAssocID="{9C1216E0-6A49-49D9-B857-F309EE68F332}" presName="parenttextcomposite" presStyleCnt="0"/>
      <dgm:spPr/>
    </dgm:pt>
    <dgm:pt modelId="{637E7FB8-1F73-4BDE-B97E-89EF340E6C79}" type="pres">
      <dgm:prSet presAssocID="{9C1216E0-6A49-49D9-B857-F309EE68F332}" presName="parenttext" presStyleLbl="revTx" presStyleIdx="3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57D83C-C5FF-48FE-9E55-A5D08BA62BC7}" type="pres">
      <dgm:prSet presAssocID="{9C1216E0-6A49-49D9-B857-F309EE68F332}" presName="parallelogramComposite" presStyleCnt="0"/>
      <dgm:spPr/>
    </dgm:pt>
    <dgm:pt modelId="{B17A0E64-2F7F-4410-AF9A-B2443DA355F4}" type="pres">
      <dgm:prSet presAssocID="{9C1216E0-6A49-49D9-B857-F309EE68F332}" presName="parallelogram1" presStyleLbl="alignNode1" presStyleIdx="21" presStyleCnt="42"/>
      <dgm:spPr/>
    </dgm:pt>
    <dgm:pt modelId="{413060E6-1D08-4545-9833-86AB6BEA93AC}" type="pres">
      <dgm:prSet presAssocID="{9C1216E0-6A49-49D9-B857-F309EE68F332}" presName="parallelogram2" presStyleLbl="alignNode1" presStyleIdx="22" presStyleCnt="42"/>
      <dgm:spPr/>
    </dgm:pt>
    <dgm:pt modelId="{D811CAF1-D925-4558-9B45-C3FC838808B2}" type="pres">
      <dgm:prSet presAssocID="{9C1216E0-6A49-49D9-B857-F309EE68F332}" presName="parallelogram3" presStyleLbl="alignNode1" presStyleIdx="23" presStyleCnt="42"/>
      <dgm:spPr/>
    </dgm:pt>
    <dgm:pt modelId="{FF10008F-B4B1-4725-90D8-942B608B2ACF}" type="pres">
      <dgm:prSet presAssocID="{9C1216E0-6A49-49D9-B857-F309EE68F332}" presName="parallelogram4" presStyleLbl="alignNode1" presStyleIdx="24" presStyleCnt="42"/>
      <dgm:spPr/>
    </dgm:pt>
    <dgm:pt modelId="{7D4C4818-708B-41F9-BCC5-3E5005F68C11}" type="pres">
      <dgm:prSet presAssocID="{9C1216E0-6A49-49D9-B857-F309EE68F332}" presName="parallelogram5" presStyleLbl="alignNode1" presStyleIdx="25" presStyleCnt="42"/>
      <dgm:spPr/>
    </dgm:pt>
    <dgm:pt modelId="{21F84DB7-3AD3-4912-B40E-F3BCFB916A9E}" type="pres">
      <dgm:prSet presAssocID="{9C1216E0-6A49-49D9-B857-F309EE68F332}" presName="parallelogram6" presStyleLbl="alignNode1" presStyleIdx="26" presStyleCnt="42"/>
      <dgm:spPr/>
    </dgm:pt>
    <dgm:pt modelId="{0E854234-D552-4DE5-B8C9-E58F1279BE6C}" type="pres">
      <dgm:prSet presAssocID="{9C1216E0-6A49-49D9-B857-F309EE68F332}" presName="parallelogram7" presStyleLbl="alignNode1" presStyleIdx="27" presStyleCnt="42"/>
      <dgm:spPr/>
    </dgm:pt>
    <dgm:pt modelId="{CC55733C-98F1-4385-B72B-D50119EC3230}" type="pres">
      <dgm:prSet presAssocID="{AE3DDF08-B5D7-41D8-9B15-2C152A456625}" presName="sibTrans" presStyleCnt="0"/>
      <dgm:spPr/>
    </dgm:pt>
    <dgm:pt modelId="{974155F4-FC27-4292-9B50-8EC40168E49B}" type="pres">
      <dgm:prSet presAssocID="{B7ECB5C9-3ABC-414D-B204-64896C88B953}" presName="parenttextcomposite" presStyleCnt="0"/>
      <dgm:spPr/>
    </dgm:pt>
    <dgm:pt modelId="{CAFEF2A5-8C22-489A-AFC9-B299E7858259}" type="pres">
      <dgm:prSet presAssocID="{B7ECB5C9-3ABC-414D-B204-64896C88B953}" presName="parenttext" presStyleLbl="revTx" presStyleIdx="4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08E2FC-1AE4-4A98-BC2D-B4A07A01C94F}" type="pres">
      <dgm:prSet presAssocID="{B7ECB5C9-3ABC-414D-B204-64896C88B953}" presName="parallelogramComposite" presStyleCnt="0"/>
      <dgm:spPr/>
    </dgm:pt>
    <dgm:pt modelId="{7C1BAF8C-7C61-4904-A1CB-4F7EBEBD148F}" type="pres">
      <dgm:prSet presAssocID="{B7ECB5C9-3ABC-414D-B204-64896C88B953}" presName="parallelogram1" presStyleLbl="alignNode1" presStyleIdx="28" presStyleCnt="42"/>
      <dgm:spPr/>
    </dgm:pt>
    <dgm:pt modelId="{F7378F01-4977-4699-901A-DCC418FE836A}" type="pres">
      <dgm:prSet presAssocID="{B7ECB5C9-3ABC-414D-B204-64896C88B953}" presName="parallelogram2" presStyleLbl="alignNode1" presStyleIdx="29" presStyleCnt="42"/>
      <dgm:spPr/>
    </dgm:pt>
    <dgm:pt modelId="{C3F1B0A3-52A8-44CE-91F1-AA33ADE1D63B}" type="pres">
      <dgm:prSet presAssocID="{B7ECB5C9-3ABC-414D-B204-64896C88B953}" presName="parallelogram3" presStyleLbl="alignNode1" presStyleIdx="30" presStyleCnt="42"/>
      <dgm:spPr/>
    </dgm:pt>
    <dgm:pt modelId="{0A458437-E16B-4FA7-A607-E195AAA522DE}" type="pres">
      <dgm:prSet presAssocID="{B7ECB5C9-3ABC-414D-B204-64896C88B953}" presName="parallelogram4" presStyleLbl="alignNode1" presStyleIdx="31" presStyleCnt="42"/>
      <dgm:spPr/>
    </dgm:pt>
    <dgm:pt modelId="{1F3071A9-5E3D-4C45-A591-D64B2052514D}" type="pres">
      <dgm:prSet presAssocID="{B7ECB5C9-3ABC-414D-B204-64896C88B953}" presName="parallelogram5" presStyleLbl="alignNode1" presStyleIdx="32" presStyleCnt="42"/>
      <dgm:spPr/>
    </dgm:pt>
    <dgm:pt modelId="{1CA5F382-E1C8-4C93-9FF7-4B8843E5AB35}" type="pres">
      <dgm:prSet presAssocID="{B7ECB5C9-3ABC-414D-B204-64896C88B953}" presName="parallelogram6" presStyleLbl="alignNode1" presStyleIdx="33" presStyleCnt="42"/>
      <dgm:spPr/>
    </dgm:pt>
    <dgm:pt modelId="{544F91EE-3659-4890-A42F-A8390AA14599}" type="pres">
      <dgm:prSet presAssocID="{B7ECB5C9-3ABC-414D-B204-64896C88B953}" presName="parallelogram7" presStyleLbl="alignNode1" presStyleIdx="34" presStyleCnt="42"/>
      <dgm:spPr/>
    </dgm:pt>
    <dgm:pt modelId="{D9EED694-B4CC-4981-9BE7-8AD437DD9047}" type="pres">
      <dgm:prSet presAssocID="{03E60FBB-443A-4717-946A-005A85D13344}" presName="sibTrans" presStyleCnt="0"/>
      <dgm:spPr/>
    </dgm:pt>
    <dgm:pt modelId="{6D21297B-F978-4972-B10F-CCBFB692DB02}" type="pres">
      <dgm:prSet presAssocID="{D1BA4AF2-D04C-4CD3-BC39-1DA648AC7223}" presName="parenttextcomposite" presStyleCnt="0"/>
      <dgm:spPr/>
    </dgm:pt>
    <dgm:pt modelId="{17D4BBF9-86C1-46A1-85D7-AB4B9A08027F}" type="pres">
      <dgm:prSet presAssocID="{D1BA4AF2-D04C-4CD3-BC39-1DA648AC7223}" presName="parenttext" presStyleLbl="revTx" presStyleIdx="5" presStyleCnt="6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52449F-8BC6-4D72-8208-5D8429C78F74}" type="pres">
      <dgm:prSet presAssocID="{D1BA4AF2-D04C-4CD3-BC39-1DA648AC7223}" presName="parallelogramComposite" presStyleCnt="0"/>
      <dgm:spPr/>
    </dgm:pt>
    <dgm:pt modelId="{60E5730D-A2B1-48CA-9C4D-510E4ED154CF}" type="pres">
      <dgm:prSet presAssocID="{D1BA4AF2-D04C-4CD3-BC39-1DA648AC7223}" presName="parallelogram1" presStyleLbl="alignNode1" presStyleIdx="35" presStyleCnt="42"/>
      <dgm:spPr/>
    </dgm:pt>
    <dgm:pt modelId="{42FBA239-A48A-4D33-8137-43BED3732530}" type="pres">
      <dgm:prSet presAssocID="{D1BA4AF2-D04C-4CD3-BC39-1DA648AC7223}" presName="parallelogram2" presStyleLbl="alignNode1" presStyleIdx="36" presStyleCnt="42"/>
      <dgm:spPr/>
    </dgm:pt>
    <dgm:pt modelId="{7505BDBC-4A05-4E21-8401-5F35D8230C76}" type="pres">
      <dgm:prSet presAssocID="{D1BA4AF2-D04C-4CD3-BC39-1DA648AC7223}" presName="parallelogram3" presStyleLbl="alignNode1" presStyleIdx="37" presStyleCnt="42"/>
      <dgm:spPr/>
    </dgm:pt>
    <dgm:pt modelId="{EC8A6E6F-F4D7-4796-A54D-B5B7B7536E69}" type="pres">
      <dgm:prSet presAssocID="{D1BA4AF2-D04C-4CD3-BC39-1DA648AC7223}" presName="parallelogram4" presStyleLbl="alignNode1" presStyleIdx="38" presStyleCnt="42"/>
      <dgm:spPr/>
    </dgm:pt>
    <dgm:pt modelId="{8F5DE1A5-521B-413F-9CBA-A7114D9DA3D6}" type="pres">
      <dgm:prSet presAssocID="{D1BA4AF2-D04C-4CD3-BC39-1DA648AC7223}" presName="parallelogram5" presStyleLbl="alignNode1" presStyleIdx="39" presStyleCnt="42"/>
      <dgm:spPr/>
    </dgm:pt>
    <dgm:pt modelId="{7909B03A-56A8-48CF-9B2C-16C4FA44F06E}" type="pres">
      <dgm:prSet presAssocID="{D1BA4AF2-D04C-4CD3-BC39-1DA648AC7223}" presName="parallelogram6" presStyleLbl="alignNode1" presStyleIdx="40" presStyleCnt="42"/>
      <dgm:spPr/>
    </dgm:pt>
    <dgm:pt modelId="{686D40E1-18B8-4C7A-941A-8AB559BE591C}" type="pres">
      <dgm:prSet presAssocID="{D1BA4AF2-D04C-4CD3-BC39-1DA648AC7223}" presName="parallelogram7" presStyleLbl="alignNode1" presStyleIdx="41" presStyleCnt="42"/>
      <dgm:spPr/>
    </dgm:pt>
  </dgm:ptLst>
  <dgm:cxnLst>
    <dgm:cxn modelId="{5BF3880C-A6BC-40CA-BAEB-8E62B8D88E4E}" type="presOf" srcId="{9C1216E0-6A49-49D9-B857-F309EE68F332}" destId="{637E7FB8-1F73-4BDE-B97E-89EF340E6C79}" srcOrd="0" destOrd="0" presId="urn:microsoft.com/office/officeart/2008/layout/VerticalAccentList"/>
    <dgm:cxn modelId="{BDB27C84-3C97-431C-A137-26F8C204F9AC}" srcId="{FD3DB6FE-130F-4B68-90ED-6D10C919E344}" destId="{B7ECB5C9-3ABC-414D-B204-64896C88B953}" srcOrd="4" destOrd="0" parTransId="{4E5788D6-BFD2-427C-8174-1BB31C475152}" sibTransId="{03E60FBB-443A-4717-946A-005A85D13344}"/>
    <dgm:cxn modelId="{BDD6AFBA-54C9-4B6A-9E0C-190FE7F94038}" srcId="{FD3DB6FE-130F-4B68-90ED-6D10C919E344}" destId="{D1BA4AF2-D04C-4CD3-BC39-1DA648AC7223}" srcOrd="5" destOrd="0" parTransId="{6C14D868-462C-4CD2-89FE-7201FD8B068B}" sibTransId="{F6E4119A-DAB6-4B59-8D44-68926D2A5233}"/>
    <dgm:cxn modelId="{E7D6B5E4-D26D-4893-8BAE-C0ECE8D0B0D4}" type="presOf" srcId="{CBD0A9E5-7A45-4F42-8877-54CE9AE2A5CE}" destId="{B2A5D084-7BC6-4561-814F-2849CA63EA58}" srcOrd="0" destOrd="0" presId="urn:microsoft.com/office/officeart/2008/layout/VerticalAccentList"/>
    <dgm:cxn modelId="{E63B76B0-FBB9-4948-AEF7-AA957995BBC9}" type="presOf" srcId="{B7ECB5C9-3ABC-414D-B204-64896C88B953}" destId="{CAFEF2A5-8C22-489A-AFC9-B299E7858259}" srcOrd="0" destOrd="0" presId="urn:microsoft.com/office/officeart/2008/layout/VerticalAccentList"/>
    <dgm:cxn modelId="{CBAB40A5-8C0C-46E6-8908-6F545756DACD}" type="presOf" srcId="{FD3DB6FE-130F-4B68-90ED-6D10C919E344}" destId="{1D9B425C-2F62-4234-BF52-C173A1F209F3}" srcOrd="0" destOrd="0" presId="urn:microsoft.com/office/officeart/2008/layout/VerticalAccentList"/>
    <dgm:cxn modelId="{47740911-47B6-43E2-A9E2-69EC2FBA87C0}" type="presOf" srcId="{12BE5A0C-1CA4-49D5-8AEA-1658DD33DE84}" destId="{EB748BDC-6765-4BA8-AC5D-E654A94F3821}" srcOrd="0" destOrd="0" presId="urn:microsoft.com/office/officeart/2008/layout/VerticalAccentList"/>
    <dgm:cxn modelId="{0518C964-B6F4-43DC-A214-75FBDA4E40C8}" srcId="{FD3DB6FE-130F-4B68-90ED-6D10C919E344}" destId="{846D3E3A-6068-4BF1-9A16-488B9638913B}" srcOrd="0" destOrd="0" parTransId="{6189EDCF-6277-4EEA-8C3F-7BFF2B69147A}" sibTransId="{23DBBA2F-6345-48BE-8E22-A613A852C49A}"/>
    <dgm:cxn modelId="{55299798-0593-4AC2-83D9-0E9070822CFB}" srcId="{FD3DB6FE-130F-4B68-90ED-6D10C919E344}" destId="{12BE5A0C-1CA4-49D5-8AEA-1658DD33DE84}" srcOrd="2" destOrd="0" parTransId="{57F88ED4-97D6-4FF6-9D53-3D075C6E0B04}" sibTransId="{D9AB8287-B450-4702-9C91-0CA2C70FCCA1}"/>
    <dgm:cxn modelId="{079DF44A-A7A2-48B1-BAB3-874D4D066A9E}" type="presOf" srcId="{846D3E3A-6068-4BF1-9A16-488B9638913B}" destId="{65656358-D990-414A-A2AA-6808AD41F3CF}" srcOrd="0" destOrd="0" presId="urn:microsoft.com/office/officeart/2008/layout/VerticalAccentList"/>
    <dgm:cxn modelId="{3D756219-19F4-470F-AFCA-0ADEB2A93E58}" srcId="{FD3DB6FE-130F-4B68-90ED-6D10C919E344}" destId="{9C1216E0-6A49-49D9-B857-F309EE68F332}" srcOrd="3" destOrd="0" parTransId="{556D1A99-3BE0-4D29-AD51-E2FF70914BF3}" sibTransId="{AE3DDF08-B5D7-41D8-9B15-2C152A456625}"/>
    <dgm:cxn modelId="{080A4904-A035-477B-BDCF-C2E877D64942}" type="presOf" srcId="{D1BA4AF2-D04C-4CD3-BC39-1DA648AC7223}" destId="{17D4BBF9-86C1-46A1-85D7-AB4B9A08027F}" srcOrd="0" destOrd="0" presId="urn:microsoft.com/office/officeart/2008/layout/VerticalAccentList"/>
    <dgm:cxn modelId="{8FC11570-4121-468F-84CC-1317DAE90084}" srcId="{FD3DB6FE-130F-4B68-90ED-6D10C919E344}" destId="{CBD0A9E5-7A45-4F42-8877-54CE9AE2A5CE}" srcOrd="1" destOrd="0" parTransId="{E40920A0-67FB-432E-90C6-92A0A23C8F51}" sibTransId="{46C25ADB-6C1A-42D7-B3EC-B4BA285EA8B2}"/>
    <dgm:cxn modelId="{FFCB8BFB-B0F8-4844-A33F-19BA63631FF0}" type="presParOf" srcId="{1D9B425C-2F62-4234-BF52-C173A1F209F3}" destId="{FFB5BF43-93F9-4B20-9454-CCAB04976144}" srcOrd="0" destOrd="0" presId="urn:microsoft.com/office/officeart/2008/layout/VerticalAccentList"/>
    <dgm:cxn modelId="{DAEE042C-D352-4039-B3DF-D63BE974BC22}" type="presParOf" srcId="{FFB5BF43-93F9-4B20-9454-CCAB04976144}" destId="{65656358-D990-414A-A2AA-6808AD41F3CF}" srcOrd="0" destOrd="0" presId="urn:microsoft.com/office/officeart/2008/layout/VerticalAccentList"/>
    <dgm:cxn modelId="{2DC9D430-7D41-44CC-9085-A8517BD065D2}" type="presParOf" srcId="{1D9B425C-2F62-4234-BF52-C173A1F209F3}" destId="{0114A427-52B9-4043-9AD8-F155F9CA695B}" srcOrd="1" destOrd="0" presId="urn:microsoft.com/office/officeart/2008/layout/VerticalAccentList"/>
    <dgm:cxn modelId="{DF08DDC0-F48D-4253-90CD-4DE4B8EE5FFC}" type="presParOf" srcId="{0114A427-52B9-4043-9AD8-F155F9CA695B}" destId="{73EE8E2D-6812-40FB-AAE5-CE9CDC54C68B}" srcOrd="0" destOrd="0" presId="urn:microsoft.com/office/officeart/2008/layout/VerticalAccentList"/>
    <dgm:cxn modelId="{AE1D764F-DB1E-464C-A80D-620F3EDF37E4}" type="presParOf" srcId="{0114A427-52B9-4043-9AD8-F155F9CA695B}" destId="{68435188-FFC6-4458-9920-18C48127181C}" srcOrd="1" destOrd="0" presId="urn:microsoft.com/office/officeart/2008/layout/VerticalAccentList"/>
    <dgm:cxn modelId="{9BA8FD7A-BD3B-4BC6-A6EB-BA99578BA245}" type="presParOf" srcId="{0114A427-52B9-4043-9AD8-F155F9CA695B}" destId="{93016C47-552A-4EAC-91E4-1D5442C86F5B}" srcOrd="2" destOrd="0" presId="urn:microsoft.com/office/officeart/2008/layout/VerticalAccentList"/>
    <dgm:cxn modelId="{31E06274-4AC5-4151-A41B-179925D1F3A4}" type="presParOf" srcId="{0114A427-52B9-4043-9AD8-F155F9CA695B}" destId="{D1DCAEA6-20DB-459D-8638-2095852E5087}" srcOrd="3" destOrd="0" presId="urn:microsoft.com/office/officeart/2008/layout/VerticalAccentList"/>
    <dgm:cxn modelId="{0CD14A55-04EC-4388-9FD1-384E35F90151}" type="presParOf" srcId="{0114A427-52B9-4043-9AD8-F155F9CA695B}" destId="{FF2134F3-43D3-4FB7-B7AD-27D514D796D0}" srcOrd="4" destOrd="0" presId="urn:microsoft.com/office/officeart/2008/layout/VerticalAccentList"/>
    <dgm:cxn modelId="{3759A691-68E5-4A35-B2EF-9F5EDD3029E4}" type="presParOf" srcId="{0114A427-52B9-4043-9AD8-F155F9CA695B}" destId="{D8D13CB1-BCDF-4B2F-927A-42061F45252D}" srcOrd="5" destOrd="0" presId="urn:microsoft.com/office/officeart/2008/layout/VerticalAccentList"/>
    <dgm:cxn modelId="{8F15A2AE-C263-4743-83CC-7E148009E6D8}" type="presParOf" srcId="{0114A427-52B9-4043-9AD8-F155F9CA695B}" destId="{C9A25E16-7DF4-498C-B0BE-E53C4594E1A5}" srcOrd="6" destOrd="0" presId="urn:microsoft.com/office/officeart/2008/layout/VerticalAccentList"/>
    <dgm:cxn modelId="{6E177FD3-8BB8-46AC-A7C4-BDE66A67C7A2}" type="presParOf" srcId="{1D9B425C-2F62-4234-BF52-C173A1F209F3}" destId="{A4CB07BE-AFD2-4E6D-86EE-38E4E26FE9DE}" srcOrd="2" destOrd="0" presId="urn:microsoft.com/office/officeart/2008/layout/VerticalAccentList"/>
    <dgm:cxn modelId="{58F5D0F2-2537-4F82-85B3-8FA5207E0B58}" type="presParOf" srcId="{1D9B425C-2F62-4234-BF52-C173A1F209F3}" destId="{76031BDB-0AE0-49CE-AB4D-9D5D615E264C}" srcOrd="3" destOrd="0" presId="urn:microsoft.com/office/officeart/2008/layout/VerticalAccentList"/>
    <dgm:cxn modelId="{9BF7B684-202E-4346-9AF6-82A92FBD1EA4}" type="presParOf" srcId="{76031BDB-0AE0-49CE-AB4D-9D5D615E264C}" destId="{B2A5D084-7BC6-4561-814F-2849CA63EA58}" srcOrd="0" destOrd="0" presId="urn:microsoft.com/office/officeart/2008/layout/VerticalAccentList"/>
    <dgm:cxn modelId="{4DB57979-E1DE-4E6D-9DB9-9E2D71B7A606}" type="presParOf" srcId="{1D9B425C-2F62-4234-BF52-C173A1F209F3}" destId="{1DCF8EB4-B65C-4AE0-8BDE-BA382145AC87}" srcOrd="4" destOrd="0" presId="urn:microsoft.com/office/officeart/2008/layout/VerticalAccentList"/>
    <dgm:cxn modelId="{5C6D577E-990F-430D-8303-CEBA87C22BF2}" type="presParOf" srcId="{1DCF8EB4-B65C-4AE0-8BDE-BA382145AC87}" destId="{E01FD87B-14DB-4D5E-8E57-399BE45FB165}" srcOrd="0" destOrd="0" presId="urn:microsoft.com/office/officeart/2008/layout/VerticalAccentList"/>
    <dgm:cxn modelId="{F035D2C6-5F22-4348-BE9A-EF1ADADE56B9}" type="presParOf" srcId="{1DCF8EB4-B65C-4AE0-8BDE-BA382145AC87}" destId="{23B7D716-4B36-4EE9-89A2-D0AAA1AB4764}" srcOrd="1" destOrd="0" presId="urn:microsoft.com/office/officeart/2008/layout/VerticalAccentList"/>
    <dgm:cxn modelId="{C9845D98-1B23-4DC3-B71A-F0040A1FCB62}" type="presParOf" srcId="{1DCF8EB4-B65C-4AE0-8BDE-BA382145AC87}" destId="{389B14CF-2380-4D0A-9AA3-0F66693437B7}" srcOrd="2" destOrd="0" presId="urn:microsoft.com/office/officeart/2008/layout/VerticalAccentList"/>
    <dgm:cxn modelId="{4306A30B-1954-4121-B1CB-E326A5CF7231}" type="presParOf" srcId="{1DCF8EB4-B65C-4AE0-8BDE-BA382145AC87}" destId="{98884B77-BF7B-4FC0-9D00-51B5F17EBF7D}" srcOrd="3" destOrd="0" presId="urn:microsoft.com/office/officeart/2008/layout/VerticalAccentList"/>
    <dgm:cxn modelId="{324A5802-E0FB-49CC-A31B-4265735BFF07}" type="presParOf" srcId="{1DCF8EB4-B65C-4AE0-8BDE-BA382145AC87}" destId="{46529FEF-28B8-4E34-9C54-CF1E9C9C412B}" srcOrd="4" destOrd="0" presId="urn:microsoft.com/office/officeart/2008/layout/VerticalAccentList"/>
    <dgm:cxn modelId="{BB179CDC-C1E3-493D-A5B3-F2C24830ECE5}" type="presParOf" srcId="{1DCF8EB4-B65C-4AE0-8BDE-BA382145AC87}" destId="{7BC95DA3-A843-4CA2-AC28-E5BDD76F656A}" srcOrd="5" destOrd="0" presId="urn:microsoft.com/office/officeart/2008/layout/VerticalAccentList"/>
    <dgm:cxn modelId="{DF70C146-CC50-4504-B59B-6E8BA6A51B70}" type="presParOf" srcId="{1DCF8EB4-B65C-4AE0-8BDE-BA382145AC87}" destId="{CAF6C7A1-CEDA-4597-AD5E-9591CF252A12}" srcOrd="6" destOrd="0" presId="urn:microsoft.com/office/officeart/2008/layout/VerticalAccentList"/>
    <dgm:cxn modelId="{A29220D4-D5C8-4B93-87C3-2D5CA302AA58}" type="presParOf" srcId="{1D9B425C-2F62-4234-BF52-C173A1F209F3}" destId="{4FAE2DE3-A553-4F6D-9146-46A3E2AF84FC}" srcOrd="5" destOrd="0" presId="urn:microsoft.com/office/officeart/2008/layout/VerticalAccentList"/>
    <dgm:cxn modelId="{0D060782-59CD-41C8-B28B-D9B0D8F133AB}" type="presParOf" srcId="{1D9B425C-2F62-4234-BF52-C173A1F209F3}" destId="{51130C27-4940-4C94-B61B-B13854A50F45}" srcOrd="6" destOrd="0" presId="urn:microsoft.com/office/officeart/2008/layout/VerticalAccentList"/>
    <dgm:cxn modelId="{BDBEE1DA-E06E-4199-ABEC-C7F0EF491B12}" type="presParOf" srcId="{51130C27-4940-4C94-B61B-B13854A50F45}" destId="{EB748BDC-6765-4BA8-AC5D-E654A94F3821}" srcOrd="0" destOrd="0" presId="urn:microsoft.com/office/officeart/2008/layout/VerticalAccentList"/>
    <dgm:cxn modelId="{1C6ECB17-5753-48CF-B61E-51622914C28B}" type="presParOf" srcId="{1D9B425C-2F62-4234-BF52-C173A1F209F3}" destId="{372CEF75-D3FC-4E52-89EE-7A6A39592DA8}" srcOrd="7" destOrd="0" presId="urn:microsoft.com/office/officeart/2008/layout/VerticalAccentList"/>
    <dgm:cxn modelId="{45EBBA22-BF62-4EF9-9679-1FD181E75F44}" type="presParOf" srcId="{372CEF75-D3FC-4E52-89EE-7A6A39592DA8}" destId="{B23D5DFF-277F-47EC-B766-254B7843A471}" srcOrd="0" destOrd="0" presId="urn:microsoft.com/office/officeart/2008/layout/VerticalAccentList"/>
    <dgm:cxn modelId="{CFF16008-92AC-49EA-BF44-322B309C2790}" type="presParOf" srcId="{372CEF75-D3FC-4E52-89EE-7A6A39592DA8}" destId="{5DC2C858-E7FD-454E-810F-3833E4F6A4FE}" srcOrd="1" destOrd="0" presId="urn:microsoft.com/office/officeart/2008/layout/VerticalAccentList"/>
    <dgm:cxn modelId="{04FBA6C6-4E0A-4D6F-85DB-7DB1A3224488}" type="presParOf" srcId="{372CEF75-D3FC-4E52-89EE-7A6A39592DA8}" destId="{D97A7113-372D-4E83-A998-04EBAEA17532}" srcOrd="2" destOrd="0" presId="urn:microsoft.com/office/officeart/2008/layout/VerticalAccentList"/>
    <dgm:cxn modelId="{9CEB55A8-31EC-49A3-85A6-FF0820FA6B14}" type="presParOf" srcId="{372CEF75-D3FC-4E52-89EE-7A6A39592DA8}" destId="{27F9115D-69E8-4929-A843-4DA0FF8D50EC}" srcOrd="3" destOrd="0" presId="urn:microsoft.com/office/officeart/2008/layout/VerticalAccentList"/>
    <dgm:cxn modelId="{53DFB408-4102-4B21-96EE-3316BF8C4038}" type="presParOf" srcId="{372CEF75-D3FC-4E52-89EE-7A6A39592DA8}" destId="{F4AD7304-F4B3-446A-B79E-0F71D30FD4BA}" srcOrd="4" destOrd="0" presId="urn:microsoft.com/office/officeart/2008/layout/VerticalAccentList"/>
    <dgm:cxn modelId="{F1C7F561-D043-4384-8848-79A6310B1392}" type="presParOf" srcId="{372CEF75-D3FC-4E52-89EE-7A6A39592DA8}" destId="{C744AF08-7521-4F1F-B869-FF9FD3CD437B}" srcOrd="5" destOrd="0" presId="urn:microsoft.com/office/officeart/2008/layout/VerticalAccentList"/>
    <dgm:cxn modelId="{9BAD6A2F-05B4-44FB-B672-F31B4F58A3D7}" type="presParOf" srcId="{372CEF75-D3FC-4E52-89EE-7A6A39592DA8}" destId="{024A51C2-27BD-452A-9848-98953F73DAEE}" srcOrd="6" destOrd="0" presId="urn:microsoft.com/office/officeart/2008/layout/VerticalAccentList"/>
    <dgm:cxn modelId="{56544298-1749-48C5-AF04-3E96422DF03C}" type="presParOf" srcId="{1D9B425C-2F62-4234-BF52-C173A1F209F3}" destId="{F8EBDEBF-11CE-4B5B-B8AC-565879422297}" srcOrd="8" destOrd="0" presId="urn:microsoft.com/office/officeart/2008/layout/VerticalAccentList"/>
    <dgm:cxn modelId="{4B3D4A2F-7877-412A-83AB-904197FAA875}" type="presParOf" srcId="{1D9B425C-2F62-4234-BF52-C173A1F209F3}" destId="{487C8EF6-3C51-47DD-9210-6B6268DAFE08}" srcOrd="9" destOrd="0" presId="urn:microsoft.com/office/officeart/2008/layout/VerticalAccentList"/>
    <dgm:cxn modelId="{DF696571-C285-470B-A125-AD46FED7194E}" type="presParOf" srcId="{487C8EF6-3C51-47DD-9210-6B6268DAFE08}" destId="{637E7FB8-1F73-4BDE-B97E-89EF340E6C79}" srcOrd="0" destOrd="0" presId="urn:microsoft.com/office/officeart/2008/layout/VerticalAccentList"/>
    <dgm:cxn modelId="{77DDFEB7-FAB7-4F4F-B3E1-3CF8A87F1986}" type="presParOf" srcId="{1D9B425C-2F62-4234-BF52-C173A1F209F3}" destId="{E557D83C-C5FF-48FE-9E55-A5D08BA62BC7}" srcOrd="10" destOrd="0" presId="urn:microsoft.com/office/officeart/2008/layout/VerticalAccentList"/>
    <dgm:cxn modelId="{C65CE80F-8998-4EFC-8829-D167B3772FF4}" type="presParOf" srcId="{E557D83C-C5FF-48FE-9E55-A5D08BA62BC7}" destId="{B17A0E64-2F7F-4410-AF9A-B2443DA355F4}" srcOrd="0" destOrd="0" presId="urn:microsoft.com/office/officeart/2008/layout/VerticalAccentList"/>
    <dgm:cxn modelId="{4BA5446E-0DC3-44EA-BFC5-0A3286AC4702}" type="presParOf" srcId="{E557D83C-C5FF-48FE-9E55-A5D08BA62BC7}" destId="{413060E6-1D08-4545-9833-86AB6BEA93AC}" srcOrd="1" destOrd="0" presId="urn:microsoft.com/office/officeart/2008/layout/VerticalAccentList"/>
    <dgm:cxn modelId="{7F4DADD2-3B6D-4EE2-AA59-090019DBD408}" type="presParOf" srcId="{E557D83C-C5FF-48FE-9E55-A5D08BA62BC7}" destId="{D811CAF1-D925-4558-9B45-C3FC838808B2}" srcOrd="2" destOrd="0" presId="urn:microsoft.com/office/officeart/2008/layout/VerticalAccentList"/>
    <dgm:cxn modelId="{D04C938A-6F32-4AF7-8050-7D1C1DC162DB}" type="presParOf" srcId="{E557D83C-C5FF-48FE-9E55-A5D08BA62BC7}" destId="{FF10008F-B4B1-4725-90D8-942B608B2ACF}" srcOrd="3" destOrd="0" presId="urn:microsoft.com/office/officeart/2008/layout/VerticalAccentList"/>
    <dgm:cxn modelId="{4B26983F-4CDB-4B86-A22A-6F55F9D44D9A}" type="presParOf" srcId="{E557D83C-C5FF-48FE-9E55-A5D08BA62BC7}" destId="{7D4C4818-708B-41F9-BCC5-3E5005F68C11}" srcOrd="4" destOrd="0" presId="urn:microsoft.com/office/officeart/2008/layout/VerticalAccentList"/>
    <dgm:cxn modelId="{46939440-0E73-410B-9836-5455ED8049B4}" type="presParOf" srcId="{E557D83C-C5FF-48FE-9E55-A5D08BA62BC7}" destId="{21F84DB7-3AD3-4912-B40E-F3BCFB916A9E}" srcOrd="5" destOrd="0" presId="urn:microsoft.com/office/officeart/2008/layout/VerticalAccentList"/>
    <dgm:cxn modelId="{E31417CC-EAF9-4A5A-A649-1F8B37E55AF6}" type="presParOf" srcId="{E557D83C-C5FF-48FE-9E55-A5D08BA62BC7}" destId="{0E854234-D552-4DE5-B8C9-E58F1279BE6C}" srcOrd="6" destOrd="0" presId="urn:microsoft.com/office/officeart/2008/layout/VerticalAccentList"/>
    <dgm:cxn modelId="{7AB0DB0C-3DD8-4763-B79D-2F5ABFDB1537}" type="presParOf" srcId="{1D9B425C-2F62-4234-BF52-C173A1F209F3}" destId="{CC55733C-98F1-4385-B72B-D50119EC3230}" srcOrd="11" destOrd="0" presId="urn:microsoft.com/office/officeart/2008/layout/VerticalAccentList"/>
    <dgm:cxn modelId="{70CDB9D7-749B-4C7B-8120-3EB7ABF5F488}" type="presParOf" srcId="{1D9B425C-2F62-4234-BF52-C173A1F209F3}" destId="{974155F4-FC27-4292-9B50-8EC40168E49B}" srcOrd="12" destOrd="0" presId="urn:microsoft.com/office/officeart/2008/layout/VerticalAccentList"/>
    <dgm:cxn modelId="{6E7F418E-C2CD-4DB4-8DD7-F08AB3FDF6CD}" type="presParOf" srcId="{974155F4-FC27-4292-9B50-8EC40168E49B}" destId="{CAFEF2A5-8C22-489A-AFC9-B299E7858259}" srcOrd="0" destOrd="0" presId="urn:microsoft.com/office/officeart/2008/layout/VerticalAccentList"/>
    <dgm:cxn modelId="{DA14B475-312E-46B0-868D-1F7D35C5E443}" type="presParOf" srcId="{1D9B425C-2F62-4234-BF52-C173A1F209F3}" destId="{0E08E2FC-1AE4-4A98-BC2D-B4A07A01C94F}" srcOrd="13" destOrd="0" presId="urn:microsoft.com/office/officeart/2008/layout/VerticalAccentList"/>
    <dgm:cxn modelId="{AD3088C6-A373-40A4-8E90-E3A66B9066B3}" type="presParOf" srcId="{0E08E2FC-1AE4-4A98-BC2D-B4A07A01C94F}" destId="{7C1BAF8C-7C61-4904-A1CB-4F7EBEBD148F}" srcOrd="0" destOrd="0" presId="urn:microsoft.com/office/officeart/2008/layout/VerticalAccentList"/>
    <dgm:cxn modelId="{1DE1FF1F-39CC-4C6B-8F61-BD29367CB586}" type="presParOf" srcId="{0E08E2FC-1AE4-4A98-BC2D-B4A07A01C94F}" destId="{F7378F01-4977-4699-901A-DCC418FE836A}" srcOrd="1" destOrd="0" presId="urn:microsoft.com/office/officeart/2008/layout/VerticalAccentList"/>
    <dgm:cxn modelId="{C3DC8BF4-212A-4AF6-BD27-9DFD98D8F60D}" type="presParOf" srcId="{0E08E2FC-1AE4-4A98-BC2D-B4A07A01C94F}" destId="{C3F1B0A3-52A8-44CE-91F1-AA33ADE1D63B}" srcOrd="2" destOrd="0" presId="urn:microsoft.com/office/officeart/2008/layout/VerticalAccentList"/>
    <dgm:cxn modelId="{078669B2-0FF8-4AB2-90ED-E2A4D7D9129C}" type="presParOf" srcId="{0E08E2FC-1AE4-4A98-BC2D-B4A07A01C94F}" destId="{0A458437-E16B-4FA7-A607-E195AAA522DE}" srcOrd="3" destOrd="0" presId="urn:microsoft.com/office/officeart/2008/layout/VerticalAccentList"/>
    <dgm:cxn modelId="{A380378A-0DD8-41BE-AE7A-974002C58A03}" type="presParOf" srcId="{0E08E2FC-1AE4-4A98-BC2D-B4A07A01C94F}" destId="{1F3071A9-5E3D-4C45-A591-D64B2052514D}" srcOrd="4" destOrd="0" presId="urn:microsoft.com/office/officeart/2008/layout/VerticalAccentList"/>
    <dgm:cxn modelId="{9A29D05F-4F4B-4357-B5BD-534C1FC098EA}" type="presParOf" srcId="{0E08E2FC-1AE4-4A98-BC2D-B4A07A01C94F}" destId="{1CA5F382-E1C8-4C93-9FF7-4B8843E5AB35}" srcOrd="5" destOrd="0" presId="urn:microsoft.com/office/officeart/2008/layout/VerticalAccentList"/>
    <dgm:cxn modelId="{EBD404A9-DEFB-4469-971F-08A37353C0BD}" type="presParOf" srcId="{0E08E2FC-1AE4-4A98-BC2D-B4A07A01C94F}" destId="{544F91EE-3659-4890-A42F-A8390AA14599}" srcOrd="6" destOrd="0" presId="urn:microsoft.com/office/officeart/2008/layout/VerticalAccentList"/>
    <dgm:cxn modelId="{A3E41B94-5655-4607-8CE7-ECFE97A82157}" type="presParOf" srcId="{1D9B425C-2F62-4234-BF52-C173A1F209F3}" destId="{D9EED694-B4CC-4981-9BE7-8AD437DD9047}" srcOrd="14" destOrd="0" presId="urn:microsoft.com/office/officeart/2008/layout/VerticalAccentList"/>
    <dgm:cxn modelId="{6D046F48-A2D9-4AA4-9345-1D01622D7AA2}" type="presParOf" srcId="{1D9B425C-2F62-4234-BF52-C173A1F209F3}" destId="{6D21297B-F978-4972-B10F-CCBFB692DB02}" srcOrd="15" destOrd="0" presId="urn:microsoft.com/office/officeart/2008/layout/VerticalAccentList"/>
    <dgm:cxn modelId="{21C49268-FD7A-40EA-A0C3-15294778F338}" type="presParOf" srcId="{6D21297B-F978-4972-B10F-CCBFB692DB02}" destId="{17D4BBF9-86C1-46A1-85D7-AB4B9A08027F}" srcOrd="0" destOrd="0" presId="urn:microsoft.com/office/officeart/2008/layout/VerticalAccentList"/>
    <dgm:cxn modelId="{27F638BF-DAF0-4D52-BB69-0284F3020A9F}" type="presParOf" srcId="{1D9B425C-2F62-4234-BF52-C173A1F209F3}" destId="{7452449F-8BC6-4D72-8208-5D8429C78F74}" srcOrd="16" destOrd="0" presId="urn:microsoft.com/office/officeart/2008/layout/VerticalAccentList"/>
    <dgm:cxn modelId="{71FFA4DE-38B7-42C0-88BC-894982946654}" type="presParOf" srcId="{7452449F-8BC6-4D72-8208-5D8429C78F74}" destId="{60E5730D-A2B1-48CA-9C4D-510E4ED154CF}" srcOrd="0" destOrd="0" presId="urn:microsoft.com/office/officeart/2008/layout/VerticalAccentList"/>
    <dgm:cxn modelId="{92F39EEC-4372-4608-BD6B-53DB3D8C9CA3}" type="presParOf" srcId="{7452449F-8BC6-4D72-8208-5D8429C78F74}" destId="{42FBA239-A48A-4D33-8137-43BED3732530}" srcOrd="1" destOrd="0" presId="urn:microsoft.com/office/officeart/2008/layout/VerticalAccentList"/>
    <dgm:cxn modelId="{2AD59041-2934-4D21-8F21-53F91B07E93E}" type="presParOf" srcId="{7452449F-8BC6-4D72-8208-5D8429C78F74}" destId="{7505BDBC-4A05-4E21-8401-5F35D8230C76}" srcOrd="2" destOrd="0" presId="urn:microsoft.com/office/officeart/2008/layout/VerticalAccentList"/>
    <dgm:cxn modelId="{1EB795A5-C054-4594-A01B-53AB674B0686}" type="presParOf" srcId="{7452449F-8BC6-4D72-8208-5D8429C78F74}" destId="{EC8A6E6F-F4D7-4796-A54D-B5B7B7536E69}" srcOrd="3" destOrd="0" presId="urn:microsoft.com/office/officeart/2008/layout/VerticalAccentList"/>
    <dgm:cxn modelId="{0D74D2C5-D19B-4B68-9F30-3D6F3B905245}" type="presParOf" srcId="{7452449F-8BC6-4D72-8208-5D8429C78F74}" destId="{8F5DE1A5-521B-413F-9CBA-A7114D9DA3D6}" srcOrd="4" destOrd="0" presId="urn:microsoft.com/office/officeart/2008/layout/VerticalAccentList"/>
    <dgm:cxn modelId="{2845201E-4B02-47A0-9573-5952E02A7845}" type="presParOf" srcId="{7452449F-8BC6-4D72-8208-5D8429C78F74}" destId="{7909B03A-56A8-48CF-9B2C-16C4FA44F06E}" srcOrd="5" destOrd="0" presId="urn:microsoft.com/office/officeart/2008/layout/VerticalAccentList"/>
    <dgm:cxn modelId="{448972D9-B9B6-408C-8E82-9B9A80BECD37}" type="presParOf" srcId="{7452449F-8BC6-4D72-8208-5D8429C78F74}" destId="{686D40E1-18B8-4C7A-941A-8AB559BE591C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660B49C-8C9C-4C51-AC67-B3C712B5649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08F9A1-7905-4F78-8CE8-AC2F8D67F1C5}">
      <dgm:prSet phldrT="[Text]"/>
      <dgm:spPr/>
      <dgm:t>
        <a:bodyPr/>
        <a:lstStyle/>
        <a:p>
          <a:r>
            <a:rPr lang="en-US" dirty="0" smtClean="0"/>
            <a:t>Deployment can manage multiple replicas  of same  pods. </a:t>
          </a:r>
          <a:endParaRPr lang="en-US" dirty="0"/>
        </a:p>
      </dgm:t>
    </dgm:pt>
    <dgm:pt modelId="{6047BA86-FF64-457E-8762-E03390721B81}" type="parTrans" cxnId="{AD0ADB2F-7B5F-4B7E-9A0E-8790EB319089}">
      <dgm:prSet/>
      <dgm:spPr/>
      <dgm:t>
        <a:bodyPr/>
        <a:lstStyle/>
        <a:p>
          <a:endParaRPr lang="en-US"/>
        </a:p>
      </dgm:t>
    </dgm:pt>
    <dgm:pt modelId="{EAF41C72-319A-4994-966B-B9DF355D1E79}" type="sibTrans" cxnId="{AD0ADB2F-7B5F-4B7E-9A0E-8790EB319089}">
      <dgm:prSet/>
      <dgm:spPr/>
      <dgm:t>
        <a:bodyPr/>
        <a:lstStyle/>
        <a:p>
          <a:endParaRPr lang="en-US"/>
        </a:p>
      </dgm:t>
    </dgm:pt>
    <dgm:pt modelId="{56F6F564-073A-4669-9E90-ADDCA075355A}">
      <dgm:prSet phldrT="[Text]"/>
      <dgm:spPr/>
      <dgm:t>
        <a:bodyPr/>
        <a:lstStyle/>
        <a:p>
          <a:r>
            <a:rPr lang="en-US" dirty="0" smtClean="0"/>
            <a:t>It is a full fledge object in kubernetes which is defined in manifest and posted to  API Server</a:t>
          </a:r>
          <a:endParaRPr lang="en-US" dirty="0"/>
        </a:p>
      </dgm:t>
    </dgm:pt>
    <dgm:pt modelId="{61FD7EA8-EE1F-48F0-B818-4FC2051272AD}" type="parTrans" cxnId="{632F872F-AF5E-467A-959C-C1133E756EEA}">
      <dgm:prSet/>
      <dgm:spPr/>
      <dgm:t>
        <a:bodyPr/>
        <a:lstStyle/>
        <a:p>
          <a:endParaRPr lang="en-US"/>
        </a:p>
      </dgm:t>
    </dgm:pt>
    <dgm:pt modelId="{BC3E1274-AD3B-434B-BF74-A0E1F37EE240}" type="sibTrans" cxnId="{632F872F-AF5E-467A-959C-C1133E756EEA}">
      <dgm:prSet/>
      <dgm:spPr/>
      <dgm:t>
        <a:bodyPr/>
        <a:lstStyle/>
        <a:p>
          <a:endParaRPr lang="en-US"/>
        </a:p>
      </dgm:t>
    </dgm:pt>
    <dgm:pt modelId="{CE66D79E-624C-4B7B-9D01-F7FE7CC96E88}">
      <dgm:prSet phldrT="[Text]"/>
      <dgm:spPr/>
      <dgm:t>
        <a:bodyPr/>
        <a:lstStyle/>
        <a:p>
          <a:r>
            <a:rPr lang="en-US" dirty="0" smtClean="0"/>
            <a:t>Deployment leverage another object Replica Set</a:t>
          </a:r>
          <a:endParaRPr lang="en-US" dirty="0"/>
        </a:p>
      </dgm:t>
    </dgm:pt>
    <dgm:pt modelId="{DE3E70B8-E4A8-4FA3-94D7-161D2C685901}" type="parTrans" cxnId="{14132246-FCF8-4973-964F-11DFDC140350}">
      <dgm:prSet/>
      <dgm:spPr/>
      <dgm:t>
        <a:bodyPr/>
        <a:lstStyle/>
        <a:p>
          <a:endParaRPr lang="en-US"/>
        </a:p>
      </dgm:t>
    </dgm:pt>
    <dgm:pt modelId="{AE1318F4-61A2-43F0-A16B-640338725F54}" type="sibTrans" cxnId="{14132246-FCF8-4973-964F-11DFDC140350}">
      <dgm:prSet/>
      <dgm:spPr/>
      <dgm:t>
        <a:bodyPr/>
        <a:lstStyle/>
        <a:p>
          <a:endParaRPr lang="en-US"/>
        </a:p>
      </dgm:t>
    </dgm:pt>
    <dgm:pt modelId="{57254E01-8F12-4E21-879A-2C01109409D3}">
      <dgm:prSet phldrT="[Text]"/>
      <dgm:spPr/>
      <dgm:t>
        <a:bodyPr/>
        <a:lstStyle/>
        <a:p>
          <a:r>
            <a:rPr lang="en-US" dirty="0" smtClean="0"/>
            <a:t>Deployment use Replica set to provide self healing  and scaling.</a:t>
          </a:r>
          <a:endParaRPr lang="en-US" dirty="0"/>
        </a:p>
      </dgm:t>
    </dgm:pt>
    <dgm:pt modelId="{025B841A-5E6E-48A0-B27E-F0B19ADC0B42}" type="parTrans" cxnId="{FF1A09FE-EB1D-455D-9FC9-088348FCB9EB}">
      <dgm:prSet/>
      <dgm:spPr/>
      <dgm:t>
        <a:bodyPr/>
        <a:lstStyle/>
        <a:p>
          <a:endParaRPr lang="en-US"/>
        </a:p>
      </dgm:t>
    </dgm:pt>
    <dgm:pt modelId="{5EB49E05-3BA1-4B20-B6A3-DB7654119321}" type="sibTrans" cxnId="{FF1A09FE-EB1D-455D-9FC9-088348FCB9EB}">
      <dgm:prSet/>
      <dgm:spPr/>
      <dgm:t>
        <a:bodyPr/>
        <a:lstStyle/>
        <a:p>
          <a:endParaRPr lang="en-US"/>
        </a:p>
      </dgm:t>
    </dgm:pt>
    <dgm:pt modelId="{7F38FAD1-CC65-43CC-84A6-52841C6270AB}" type="pres">
      <dgm:prSet presAssocID="{4660B49C-8C9C-4C51-AC67-B3C712B5649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173DEBA-F6B9-4E23-B040-808CCB87CB49}" type="pres">
      <dgm:prSet presAssocID="{4660B49C-8C9C-4C51-AC67-B3C712B5649A}" presName="Name1" presStyleCnt="0"/>
      <dgm:spPr/>
    </dgm:pt>
    <dgm:pt modelId="{8313EFE9-E40C-4912-9C02-92EA65DB26AD}" type="pres">
      <dgm:prSet presAssocID="{4660B49C-8C9C-4C51-AC67-B3C712B5649A}" presName="cycle" presStyleCnt="0"/>
      <dgm:spPr/>
    </dgm:pt>
    <dgm:pt modelId="{4F8BAE43-618F-462D-B888-6057F14779FE}" type="pres">
      <dgm:prSet presAssocID="{4660B49C-8C9C-4C51-AC67-B3C712B5649A}" presName="srcNode" presStyleLbl="node1" presStyleIdx="0" presStyleCnt="4"/>
      <dgm:spPr/>
    </dgm:pt>
    <dgm:pt modelId="{C1055AD5-A554-4A5B-A1F0-F081ED4AB289}" type="pres">
      <dgm:prSet presAssocID="{4660B49C-8C9C-4C51-AC67-B3C712B5649A}" presName="conn" presStyleLbl="parChTrans1D2" presStyleIdx="0" presStyleCnt="1"/>
      <dgm:spPr/>
      <dgm:t>
        <a:bodyPr/>
        <a:lstStyle/>
        <a:p>
          <a:endParaRPr lang="en-US"/>
        </a:p>
      </dgm:t>
    </dgm:pt>
    <dgm:pt modelId="{020B99AE-D949-4B97-8222-C074F9836F25}" type="pres">
      <dgm:prSet presAssocID="{4660B49C-8C9C-4C51-AC67-B3C712B5649A}" presName="extraNode" presStyleLbl="node1" presStyleIdx="0" presStyleCnt="4"/>
      <dgm:spPr/>
    </dgm:pt>
    <dgm:pt modelId="{86C2BE23-7E59-4E21-A0D1-C8DA488A3AE6}" type="pres">
      <dgm:prSet presAssocID="{4660B49C-8C9C-4C51-AC67-B3C712B5649A}" presName="dstNode" presStyleLbl="node1" presStyleIdx="0" presStyleCnt="4"/>
      <dgm:spPr/>
    </dgm:pt>
    <dgm:pt modelId="{8D9176B8-8888-493B-BEA4-69FAD50B2586}" type="pres">
      <dgm:prSet presAssocID="{4108F9A1-7905-4F78-8CE8-AC2F8D67F1C5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BE2943-1B97-463D-B5EF-67E564C483CB}" type="pres">
      <dgm:prSet presAssocID="{4108F9A1-7905-4F78-8CE8-AC2F8D67F1C5}" presName="accent_1" presStyleCnt="0"/>
      <dgm:spPr/>
    </dgm:pt>
    <dgm:pt modelId="{0CB06EBD-5793-480D-B6B0-6C24099BFD14}" type="pres">
      <dgm:prSet presAssocID="{4108F9A1-7905-4F78-8CE8-AC2F8D67F1C5}" presName="accentRepeatNode" presStyleLbl="solidFgAcc1" presStyleIdx="0" presStyleCnt="4"/>
      <dgm:spPr/>
    </dgm:pt>
    <dgm:pt modelId="{1C2935DF-2966-4C88-A5A5-F4B059CCBABB}" type="pres">
      <dgm:prSet presAssocID="{56F6F564-073A-4669-9E90-ADDCA075355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4C3910-6B83-423D-BC8B-5A296383164F}" type="pres">
      <dgm:prSet presAssocID="{56F6F564-073A-4669-9E90-ADDCA075355A}" presName="accent_2" presStyleCnt="0"/>
      <dgm:spPr/>
    </dgm:pt>
    <dgm:pt modelId="{4976A530-030B-4799-8688-4B81FA4D6DEE}" type="pres">
      <dgm:prSet presAssocID="{56F6F564-073A-4669-9E90-ADDCA075355A}" presName="accentRepeatNode" presStyleLbl="solidFgAcc1" presStyleIdx="1" presStyleCnt="4"/>
      <dgm:spPr/>
    </dgm:pt>
    <dgm:pt modelId="{C1968E38-7F7C-4043-8BBF-D2110DD06F3D}" type="pres">
      <dgm:prSet presAssocID="{CE66D79E-624C-4B7B-9D01-F7FE7CC96E88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F43806-C453-474B-A58C-FF2BE394C9B1}" type="pres">
      <dgm:prSet presAssocID="{CE66D79E-624C-4B7B-9D01-F7FE7CC96E88}" presName="accent_3" presStyleCnt="0"/>
      <dgm:spPr/>
    </dgm:pt>
    <dgm:pt modelId="{0F2F2D0B-071D-4A0D-952C-62C68FE9E937}" type="pres">
      <dgm:prSet presAssocID="{CE66D79E-624C-4B7B-9D01-F7FE7CC96E88}" presName="accentRepeatNode" presStyleLbl="solidFgAcc1" presStyleIdx="2" presStyleCnt="4"/>
      <dgm:spPr/>
    </dgm:pt>
    <dgm:pt modelId="{2F65D891-B955-41DD-AC33-8132F513A9B6}" type="pres">
      <dgm:prSet presAssocID="{57254E01-8F12-4E21-879A-2C01109409D3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A1215A-870E-443F-B704-9D879511EBDD}" type="pres">
      <dgm:prSet presAssocID="{57254E01-8F12-4E21-879A-2C01109409D3}" presName="accent_4" presStyleCnt="0"/>
      <dgm:spPr/>
    </dgm:pt>
    <dgm:pt modelId="{DE48FF9F-03A8-42FB-B5FC-A439C9DF1364}" type="pres">
      <dgm:prSet presAssocID="{57254E01-8F12-4E21-879A-2C01109409D3}" presName="accentRepeatNode" presStyleLbl="solidFgAcc1" presStyleIdx="3" presStyleCnt="4"/>
      <dgm:spPr/>
    </dgm:pt>
  </dgm:ptLst>
  <dgm:cxnLst>
    <dgm:cxn modelId="{0C6238A0-3C45-4C56-B9B1-DFC311A7B6C6}" type="presOf" srcId="{57254E01-8F12-4E21-879A-2C01109409D3}" destId="{2F65D891-B955-41DD-AC33-8132F513A9B6}" srcOrd="0" destOrd="0" presId="urn:microsoft.com/office/officeart/2008/layout/VerticalCurvedList"/>
    <dgm:cxn modelId="{14132246-FCF8-4973-964F-11DFDC140350}" srcId="{4660B49C-8C9C-4C51-AC67-B3C712B5649A}" destId="{CE66D79E-624C-4B7B-9D01-F7FE7CC96E88}" srcOrd="2" destOrd="0" parTransId="{DE3E70B8-E4A8-4FA3-94D7-161D2C685901}" sibTransId="{AE1318F4-61A2-43F0-A16B-640338725F54}"/>
    <dgm:cxn modelId="{81A6748C-AA8A-47AA-B028-55B79C719B77}" type="presOf" srcId="{4108F9A1-7905-4F78-8CE8-AC2F8D67F1C5}" destId="{8D9176B8-8888-493B-BEA4-69FAD50B2586}" srcOrd="0" destOrd="0" presId="urn:microsoft.com/office/officeart/2008/layout/VerticalCurvedList"/>
    <dgm:cxn modelId="{FF1A09FE-EB1D-455D-9FC9-088348FCB9EB}" srcId="{4660B49C-8C9C-4C51-AC67-B3C712B5649A}" destId="{57254E01-8F12-4E21-879A-2C01109409D3}" srcOrd="3" destOrd="0" parTransId="{025B841A-5E6E-48A0-B27E-F0B19ADC0B42}" sibTransId="{5EB49E05-3BA1-4B20-B6A3-DB7654119321}"/>
    <dgm:cxn modelId="{AD0ADB2F-7B5F-4B7E-9A0E-8790EB319089}" srcId="{4660B49C-8C9C-4C51-AC67-B3C712B5649A}" destId="{4108F9A1-7905-4F78-8CE8-AC2F8D67F1C5}" srcOrd="0" destOrd="0" parTransId="{6047BA86-FF64-457E-8762-E03390721B81}" sibTransId="{EAF41C72-319A-4994-966B-B9DF355D1E79}"/>
    <dgm:cxn modelId="{7E07D7C2-F98E-447D-A4A6-4E14639DDE36}" type="presOf" srcId="{CE66D79E-624C-4B7B-9D01-F7FE7CC96E88}" destId="{C1968E38-7F7C-4043-8BBF-D2110DD06F3D}" srcOrd="0" destOrd="0" presId="urn:microsoft.com/office/officeart/2008/layout/VerticalCurvedList"/>
    <dgm:cxn modelId="{632F872F-AF5E-467A-959C-C1133E756EEA}" srcId="{4660B49C-8C9C-4C51-AC67-B3C712B5649A}" destId="{56F6F564-073A-4669-9E90-ADDCA075355A}" srcOrd="1" destOrd="0" parTransId="{61FD7EA8-EE1F-48F0-B818-4FC2051272AD}" sibTransId="{BC3E1274-AD3B-434B-BF74-A0E1F37EE240}"/>
    <dgm:cxn modelId="{4B0DFF6C-C316-423F-AACF-A7D794051995}" type="presOf" srcId="{EAF41C72-319A-4994-966B-B9DF355D1E79}" destId="{C1055AD5-A554-4A5B-A1F0-F081ED4AB289}" srcOrd="0" destOrd="0" presId="urn:microsoft.com/office/officeart/2008/layout/VerticalCurvedList"/>
    <dgm:cxn modelId="{9EA2E6A9-E855-4AD8-AF9B-1FDD975235F1}" type="presOf" srcId="{4660B49C-8C9C-4C51-AC67-B3C712B5649A}" destId="{7F38FAD1-CC65-43CC-84A6-52841C6270AB}" srcOrd="0" destOrd="0" presId="urn:microsoft.com/office/officeart/2008/layout/VerticalCurvedList"/>
    <dgm:cxn modelId="{65D6EFD5-A015-4316-B689-E00F62DBA6A7}" type="presOf" srcId="{56F6F564-073A-4669-9E90-ADDCA075355A}" destId="{1C2935DF-2966-4C88-A5A5-F4B059CCBABB}" srcOrd="0" destOrd="0" presId="urn:microsoft.com/office/officeart/2008/layout/VerticalCurvedList"/>
    <dgm:cxn modelId="{19BF4C49-580F-4185-B3C1-7AC6936B8194}" type="presParOf" srcId="{7F38FAD1-CC65-43CC-84A6-52841C6270AB}" destId="{3173DEBA-F6B9-4E23-B040-808CCB87CB49}" srcOrd="0" destOrd="0" presId="urn:microsoft.com/office/officeart/2008/layout/VerticalCurvedList"/>
    <dgm:cxn modelId="{4A992D95-5FA3-4AA6-9FD4-0773EB253447}" type="presParOf" srcId="{3173DEBA-F6B9-4E23-B040-808CCB87CB49}" destId="{8313EFE9-E40C-4912-9C02-92EA65DB26AD}" srcOrd="0" destOrd="0" presId="urn:microsoft.com/office/officeart/2008/layout/VerticalCurvedList"/>
    <dgm:cxn modelId="{F3340D32-3965-496B-A028-23985D463CBA}" type="presParOf" srcId="{8313EFE9-E40C-4912-9C02-92EA65DB26AD}" destId="{4F8BAE43-618F-462D-B888-6057F14779FE}" srcOrd="0" destOrd="0" presId="urn:microsoft.com/office/officeart/2008/layout/VerticalCurvedList"/>
    <dgm:cxn modelId="{D9DB3605-7692-4362-BC33-ED92A1D6E3D4}" type="presParOf" srcId="{8313EFE9-E40C-4912-9C02-92EA65DB26AD}" destId="{C1055AD5-A554-4A5B-A1F0-F081ED4AB289}" srcOrd="1" destOrd="0" presId="urn:microsoft.com/office/officeart/2008/layout/VerticalCurvedList"/>
    <dgm:cxn modelId="{810C7E68-0545-4F47-8ACC-0E6BCFEDF664}" type="presParOf" srcId="{8313EFE9-E40C-4912-9C02-92EA65DB26AD}" destId="{020B99AE-D949-4B97-8222-C074F9836F25}" srcOrd="2" destOrd="0" presId="urn:microsoft.com/office/officeart/2008/layout/VerticalCurvedList"/>
    <dgm:cxn modelId="{D4BC1DDF-6651-4063-A67F-6E2BC1D7AE35}" type="presParOf" srcId="{8313EFE9-E40C-4912-9C02-92EA65DB26AD}" destId="{86C2BE23-7E59-4E21-A0D1-C8DA488A3AE6}" srcOrd="3" destOrd="0" presId="urn:microsoft.com/office/officeart/2008/layout/VerticalCurvedList"/>
    <dgm:cxn modelId="{22281DD8-3C3B-4FC8-A0B8-3B83135D4AE7}" type="presParOf" srcId="{3173DEBA-F6B9-4E23-B040-808CCB87CB49}" destId="{8D9176B8-8888-493B-BEA4-69FAD50B2586}" srcOrd="1" destOrd="0" presId="urn:microsoft.com/office/officeart/2008/layout/VerticalCurvedList"/>
    <dgm:cxn modelId="{16913F7D-3C67-4113-A6CB-BF78EEB9231F}" type="presParOf" srcId="{3173DEBA-F6B9-4E23-B040-808CCB87CB49}" destId="{8EBE2943-1B97-463D-B5EF-67E564C483CB}" srcOrd="2" destOrd="0" presId="urn:microsoft.com/office/officeart/2008/layout/VerticalCurvedList"/>
    <dgm:cxn modelId="{6C34D97E-B74A-4B1F-85EE-E2202751FBD1}" type="presParOf" srcId="{8EBE2943-1B97-463D-B5EF-67E564C483CB}" destId="{0CB06EBD-5793-480D-B6B0-6C24099BFD14}" srcOrd="0" destOrd="0" presId="urn:microsoft.com/office/officeart/2008/layout/VerticalCurvedList"/>
    <dgm:cxn modelId="{9834C7A0-6EAE-4C91-B4A0-7444855BAFD0}" type="presParOf" srcId="{3173DEBA-F6B9-4E23-B040-808CCB87CB49}" destId="{1C2935DF-2966-4C88-A5A5-F4B059CCBABB}" srcOrd="3" destOrd="0" presId="urn:microsoft.com/office/officeart/2008/layout/VerticalCurvedList"/>
    <dgm:cxn modelId="{11C03DFF-F3F4-446D-8713-2BDBD48B138C}" type="presParOf" srcId="{3173DEBA-F6B9-4E23-B040-808CCB87CB49}" destId="{6B4C3910-6B83-423D-BC8B-5A296383164F}" srcOrd="4" destOrd="0" presId="urn:microsoft.com/office/officeart/2008/layout/VerticalCurvedList"/>
    <dgm:cxn modelId="{4980438A-B980-4627-9BA2-D3D7C1042ED4}" type="presParOf" srcId="{6B4C3910-6B83-423D-BC8B-5A296383164F}" destId="{4976A530-030B-4799-8688-4B81FA4D6DEE}" srcOrd="0" destOrd="0" presId="urn:microsoft.com/office/officeart/2008/layout/VerticalCurvedList"/>
    <dgm:cxn modelId="{F40FB27C-F785-41A9-9E93-F111EF75EB00}" type="presParOf" srcId="{3173DEBA-F6B9-4E23-B040-808CCB87CB49}" destId="{C1968E38-7F7C-4043-8BBF-D2110DD06F3D}" srcOrd="5" destOrd="0" presId="urn:microsoft.com/office/officeart/2008/layout/VerticalCurvedList"/>
    <dgm:cxn modelId="{F2B486A8-24DA-4A10-85F6-3DE8F53E7A6D}" type="presParOf" srcId="{3173DEBA-F6B9-4E23-B040-808CCB87CB49}" destId="{58F43806-C453-474B-A58C-FF2BE394C9B1}" srcOrd="6" destOrd="0" presId="urn:microsoft.com/office/officeart/2008/layout/VerticalCurvedList"/>
    <dgm:cxn modelId="{F8276047-DF6D-43A0-A73D-5A6B630AF4B5}" type="presParOf" srcId="{58F43806-C453-474B-A58C-FF2BE394C9B1}" destId="{0F2F2D0B-071D-4A0D-952C-62C68FE9E937}" srcOrd="0" destOrd="0" presId="urn:microsoft.com/office/officeart/2008/layout/VerticalCurvedList"/>
    <dgm:cxn modelId="{E8EF98F0-DF84-453A-96DA-F030CF2FB834}" type="presParOf" srcId="{3173DEBA-F6B9-4E23-B040-808CCB87CB49}" destId="{2F65D891-B955-41DD-AC33-8132F513A9B6}" srcOrd="7" destOrd="0" presId="urn:microsoft.com/office/officeart/2008/layout/VerticalCurvedList"/>
    <dgm:cxn modelId="{A8FD17DA-D210-4113-A8B5-CD8202A13809}" type="presParOf" srcId="{3173DEBA-F6B9-4E23-B040-808CCB87CB49}" destId="{93A1215A-870E-443F-B704-9D879511EBDD}" srcOrd="8" destOrd="0" presId="urn:microsoft.com/office/officeart/2008/layout/VerticalCurvedList"/>
    <dgm:cxn modelId="{2B81C100-0A4D-4C01-9696-8E0DB274EC37}" type="presParOf" srcId="{93A1215A-870E-443F-B704-9D879511EBDD}" destId="{DE48FF9F-03A8-42FB-B5FC-A439C9DF136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660B49C-8C9C-4C51-AC67-B3C712B5649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08F9A1-7905-4F78-8CE8-AC2F8D67F1C5}">
      <dgm:prSet phldrT="[Text]"/>
      <dgm:spPr/>
      <dgm:t>
        <a:bodyPr/>
        <a:lstStyle/>
        <a:p>
          <a:r>
            <a:rPr lang="en-IN" b="0" i="0" dirty="0" smtClean="0"/>
            <a:t>A Deployment can schedule multiple pods. A pod as a unit cannot scale by itself.</a:t>
          </a:r>
          <a:endParaRPr lang="en-US" dirty="0"/>
        </a:p>
      </dgm:t>
    </dgm:pt>
    <dgm:pt modelId="{6047BA86-FF64-457E-8762-E03390721B81}" type="parTrans" cxnId="{AD0ADB2F-7B5F-4B7E-9A0E-8790EB319089}">
      <dgm:prSet/>
      <dgm:spPr/>
      <dgm:t>
        <a:bodyPr/>
        <a:lstStyle/>
        <a:p>
          <a:endParaRPr lang="en-US"/>
        </a:p>
      </dgm:t>
    </dgm:pt>
    <dgm:pt modelId="{EAF41C72-319A-4994-966B-B9DF355D1E79}" type="sibTrans" cxnId="{AD0ADB2F-7B5F-4B7E-9A0E-8790EB319089}">
      <dgm:prSet/>
      <dgm:spPr/>
      <dgm:t>
        <a:bodyPr/>
        <a:lstStyle/>
        <a:p>
          <a:endParaRPr lang="en-US"/>
        </a:p>
      </dgm:t>
    </dgm:pt>
    <dgm:pt modelId="{CE66D79E-624C-4B7B-9D01-F7FE7CC96E88}">
      <dgm:prSet phldrT="[Text]"/>
      <dgm:spPr/>
      <dgm:t>
        <a:bodyPr/>
        <a:lstStyle/>
        <a:p>
          <a:r>
            <a:rPr lang="en-IN" b="0" i="0" smtClean="0"/>
            <a:t>A Deployment represents a single purpose with a group of PODs.</a:t>
          </a:r>
          <a:endParaRPr lang="en-US" dirty="0"/>
        </a:p>
      </dgm:t>
    </dgm:pt>
    <dgm:pt modelId="{DE3E70B8-E4A8-4FA3-94D7-161D2C685901}" type="parTrans" cxnId="{14132246-FCF8-4973-964F-11DFDC140350}">
      <dgm:prSet/>
      <dgm:spPr/>
      <dgm:t>
        <a:bodyPr/>
        <a:lstStyle/>
        <a:p>
          <a:endParaRPr lang="en-US"/>
        </a:p>
      </dgm:t>
    </dgm:pt>
    <dgm:pt modelId="{AE1318F4-61A2-43F0-A16B-640338725F54}" type="sibTrans" cxnId="{14132246-FCF8-4973-964F-11DFDC140350}">
      <dgm:prSet/>
      <dgm:spPr/>
      <dgm:t>
        <a:bodyPr/>
        <a:lstStyle/>
        <a:p>
          <a:endParaRPr lang="en-US"/>
        </a:p>
      </dgm:t>
    </dgm:pt>
    <dgm:pt modelId="{57254E01-8F12-4E21-879A-2C01109409D3}">
      <dgm:prSet phldrT="[Text]"/>
      <dgm:spPr/>
      <dgm:t>
        <a:bodyPr/>
        <a:lstStyle/>
        <a:p>
          <a:r>
            <a:rPr lang="en-IN" b="0" i="0" dirty="0" smtClean="0"/>
            <a:t>A single POD can have multiple containers and these containers inside a single POD shares the same IP and can talk to each other using localhost address.</a:t>
          </a:r>
          <a:endParaRPr lang="en-US" dirty="0"/>
        </a:p>
      </dgm:t>
    </dgm:pt>
    <dgm:pt modelId="{025B841A-5E6E-48A0-B27E-F0B19ADC0B42}" type="parTrans" cxnId="{FF1A09FE-EB1D-455D-9FC9-088348FCB9EB}">
      <dgm:prSet/>
      <dgm:spPr/>
      <dgm:t>
        <a:bodyPr/>
        <a:lstStyle/>
        <a:p>
          <a:endParaRPr lang="en-US"/>
        </a:p>
      </dgm:t>
    </dgm:pt>
    <dgm:pt modelId="{5EB49E05-3BA1-4B20-B6A3-DB7654119321}" type="sibTrans" cxnId="{FF1A09FE-EB1D-455D-9FC9-088348FCB9EB}">
      <dgm:prSet/>
      <dgm:spPr/>
      <dgm:t>
        <a:bodyPr/>
        <a:lstStyle/>
        <a:p>
          <a:endParaRPr lang="en-US"/>
        </a:p>
      </dgm:t>
    </dgm:pt>
    <dgm:pt modelId="{7F38FAD1-CC65-43CC-84A6-52841C6270AB}" type="pres">
      <dgm:prSet presAssocID="{4660B49C-8C9C-4C51-AC67-B3C712B5649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173DEBA-F6B9-4E23-B040-808CCB87CB49}" type="pres">
      <dgm:prSet presAssocID="{4660B49C-8C9C-4C51-AC67-B3C712B5649A}" presName="Name1" presStyleCnt="0"/>
      <dgm:spPr/>
    </dgm:pt>
    <dgm:pt modelId="{8313EFE9-E40C-4912-9C02-92EA65DB26AD}" type="pres">
      <dgm:prSet presAssocID="{4660B49C-8C9C-4C51-AC67-B3C712B5649A}" presName="cycle" presStyleCnt="0"/>
      <dgm:spPr/>
    </dgm:pt>
    <dgm:pt modelId="{4F8BAE43-618F-462D-B888-6057F14779FE}" type="pres">
      <dgm:prSet presAssocID="{4660B49C-8C9C-4C51-AC67-B3C712B5649A}" presName="srcNode" presStyleLbl="node1" presStyleIdx="0" presStyleCnt="3"/>
      <dgm:spPr/>
    </dgm:pt>
    <dgm:pt modelId="{C1055AD5-A554-4A5B-A1F0-F081ED4AB289}" type="pres">
      <dgm:prSet presAssocID="{4660B49C-8C9C-4C51-AC67-B3C712B5649A}" presName="conn" presStyleLbl="parChTrans1D2" presStyleIdx="0" presStyleCnt="1"/>
      <dgm:spPr/>
      <dgm:t>
        <a:bodyPr/>
        <a:lstStyle/>
        <a:p>
          <a:endParaRPr lang="en-US"/>
        </a:p>
      </dgm:t>
    </dgm:pt>
    <dgm:pt modelId="{020B99AE-D949-4B97-8222-C074F9836F25}" type="pres">
      <dgm:prSet presAssocID="{4660B49C-8C9C-4C51-AC67-B3C712B5649A}" presName="extraNode" presStyleLbl="node1" presStyleIdx="0" presStyleCnt="3"/>
      <dgm:spPr/>
    </dgm:pt>
    <dgm:pt modelId="{86C2BE23-7E59-4E21-A0D1-C8DA488A3AE6}" type="pres">
      <dgm:prSet presAssocID="{4660B49C-8C9C-4C51-AC67-B3C712B5649A}" presName="dstNode" presStyleLbl="node1" presStyleIdx="0" presStyleCnt="3"/>
      <dgm:spPr/>
    </dgm:pt>
    <dgm:pt modelId="{8D9176B8-8888-493B-BEA4-69FAD50B2586}" type="pres">
      <dgm:prSet presAssocID="{4108F9A1-7905-4F78-8CE8-AC2F8D67F1C5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BE2943-1B97-463D-B5EF-67E564C483CB}" type="pres">
      <dgm:prSet presAssocID="{4108F9A1-7905-4F78-8CE8-AC2F8D67F1C5}" presName="accent_1" presStyleCnt="0"/>
      <dgm:spPr/>
    </dgm:pt>
    <dgm:pt modelId="{0CB06EBD-5793-480D-B6B0-6C24099BFD14}" type="pres">
      <dgm:prSet presAssocID="{4108F9A1-7905-4F78-8CE8-AC2F8D67F1C5}" presName="accentRepeatNode" presStyleLbl="solidFgAcc1" presStyleIdx="0" presStyleCnt="3"/>
      <dgm:spPr/>
    </dgm:pt>
    <dgm:pt modelId="{C20BC141-BA82-4360-8226-606861F8DE4B}" type="pres">
      <dgm:prSet presAssocID="{CE66D79E-624C-4B7B-9D01-F7FE7CC96E8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425522-373E-4BC4-9230-0D1349E00F3A}" type="pres">
      <dgm:prSet presAssocID="{CE66D79E-624C-4B7B-9D01-F7FE7CC96E88}" presName="accent_2" presStyleCnt="0"/>
      <dgm:spPr/>
    </dgm:pt>
    <dgm:pt modelId="{0F2F2D0B-071D-4A0D-952C-62C68FE9E937}" type="pres">
      <dgm:prSet presAssocID="{CE66D79E-624C-4B7B-9D01-F7FE7CC96E88}" presName="accentRepeatNode" presStyleLbl="solidFgAcc1" presStyleIdx="1" presStyleCnt="3"/>
      <dgm:spPr/>
    </dgm:pt>
    <dgm:pt modelId="{7468CBB0-6635-47E8-9E8C-68668F9687E7}" type="pres">
      <dgm:prSet presAssocID="{57254E01-8F12-4E21-879A-2C01109409D3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B3C712-D80B-4BF9-BC56-62D513E448F6}" type="pres">
      <dgm:prSet presAssocID="{57254E01-8F12-4E21-879A-2C01109409D3}" presName="accent_3" presStyleCnt="0"/>
      <dgm:spPr/>
    </dgm:pt>
    <dgm:pt modelId="{DE48FF9F-03A8-42FB-B5FC-A439C9DF1364}" type="pres">
      <dgm:prSet presAssocID="{57254E01-8F12-4E21-879A-2C01109409D3}" presName="accentRepeatNode" presStyleLbl="solidFgAcc1" presStyleIdx="2" presStyleCnt="3"/>
      <dgm:spPr/>
    </dgm:pt>
  </dgm:ptLst>
  <dgm:cxnLst>
    <dgm:cxn modelId="{FF1A09FE-EB1D-455D-9FC9-088348FCB9EB}" srcId="{4660B49C-8C9C-4C51-AC67-B3C712B5649A}" destId="{57254E01-8F12-4E21-879A-2C01109409D3}" srcOrd="2" destOrd="0" parTransId="{025B841A-5E6E-48A0-B27E-F0B19ADC0B42}" sibTransId="{5EB49E05-3BA1-4B20-B6A3-DB7654119321}"/>
    <dgm:cxn modelId="{4B0DFF6C-C316-423F-AACF-A7D794051995}" type="presOf" srcId="{EAF41C72-319A-4994-966B-B9DF355D1E79}" destId="{C1055AD5-A554-4A5B-A1F0-F081ED4AB289}" srcOrd="0" destOrd="0" presId="urn:microsoft.com/office/officeart/2008/layout/VerticalCurvedList"/>
    <dgm:cxn modelId="{A880507D-B1F6-4C0E-A213-64864C4D732A}" type="presOf" srcId="{CE66D79E-624C-4B7B-9D01-F7FE7CC96E88}" destId="{C20BC141-BA82-4360-8226-606861F8DE4B}" srcOrd="0" destOrd="0" presId="urn:microsoft.com/office/officeart/2008/layout/VerticalCurvedList"/>
    <dgm:cxn modelId="{14132246-FCF8-4973-964F-11DFDC140350}" srcId="{4660B49C-8C9C-4C51-AC67-B3C712B5649A}" destId="{CE66D79E-624C-4B7B-9D01-F7FE7CC96E88}" srcOrd="1" destOrd="0" parTransId="{DE3E70B8-E4A8-4FA3-94D7-161D2C685901}" sibTransId="{AE1318F4-61A2-43F0-A16B-640338725F54}"/>
    <dgm:cxn modelId="{AD0ADB2F-7B5F-4B7E-9A0E-8790EB319089}" srcId="{4660B49C-8C9C-4C51-AC67-B3C712B5649A}" destId="{4108F9A1-7905-4F78-8CE8-AC2F8D67F1C5}" srcOrd="0" destOrd="0" parTransId="{6047BA86-FF64-457E-8762-E03390721B81}" sibTransId="{EAF41C72-319A-4994-966B-B9DF355D1E79}"/>
    <dgm:cxn modelId="{E47F5175-8761-4377-B20C-01E4245BBD5A}" type="presOf" srcId="{57254E01-8F12-4E21-879A-2C01109409D3}" destId="{7468CBB0-6635-47E8-9E8C-68668F9687E7}" srcOrd="0" destOrd="0" presId="urn:microsoft.com/office/officeart/2008/layout/VerticalCurvedList"/>
    <dgm:cxn modelId="{9EA2E6A9-E855-4AD8-AF9B-1FDD975235F1}" type="presOf" srcId="{4660B49C-8C9C-4C51-AC67-B3C712B5649A}" destId="{7F38FAD1-CC65-43CC-84A6-52841C6270AB}" srcOrd="0" destOrd="0" presId="urn:microsoft.com/office/officeart/2008/layout/VerticalCurvedList"/>
    <dgm:cxn modelId="{81A6748C-AA8A-47AA-B028-55B79C719B77}" type="presOf" srcId="{4108F9A1-7905-4F78-8CE8-AC2F8D67F1C5}" destId="{8D9176B8-8888-493B-BEA4-69FAD50B2586}" srcOrd="0" destOrd="0" presId="urn:microsoft.com/office/officeart/2008/layout/VerticalCurvedList"/>
    <dgm:cxn modelId="{19BF4C49-580F-4185-B3C1-7AC6936B8194}" type="presParOf" srcId="{7F38FAD1-CC65-43CC-84A6-52841C6270AB}" destId="{3173DEBA-F6B9-4E23-B040-808CCB87CB49}" srcOrd="0" destOrd="0" presId="urn:microsoft.com/office/officeart/2008/layout/VerticalCurvedList"/>
    <dgm:cxn modelId="{4A992D95-5FA3-4AA6-9FD4-0773EB253447}" type="presParOf" srcId="{3173DEBA-F6B9-4E23-B040-808CCB87CB49}" destId="{8313EFE9-E40C-4912-9C02-92EA65DB26AD}" srcOrd="0" destOrd="0" presId="urn:microsoft.com/office/officeart/2008/layout/VerticalCurvedList"/>
    <dgm:cxn modelId="{F3340D32-3965-496B-A028-23985D463CBA}" type="presParOf" srcId="{8313EFE9-E40C-4912-9C02-92EA65DB26AD}" destId="{4F8BAE43-618F-462D-B888-6057F14779FE}" srcOrd="0" destOrd="0" presId="urn:microsoft.com/office/officeart/2008/layout/VerticalCurvedList"/>
    <dgm:cxn modelId="{D9DB3605-7692-4362-BC33-ED92A1D6E3D4}" type="presParOf" srcId="{8313EFE9-E40C-4912-9C02-92EA65DB26AD}" destId="{C1055AD5-A554-4A5B-A1F0-F081ED4AB289}" srcOrd="1" destOrd="0" presId="urn:microsoft.com/office/officeart/2008/layout/VerticalCurvedList"/>
    <dgm:cxn modelId="{810C7E68-0545-4F47-8ACC-0E6BCFEDF664}" type="presParOf" srcId="{8313EFE9-E40C-4912-9C02-92EA65DB26AD}" destId="{020B99AE-D949-4B97-8222-C074F9836F25}" srcOrd="2" destOrd="0" presId="urn:microsoft.com/office/officeart/2008/layout/VerticalCurvedList"/>
    <dgm:cxn modelId="{D4BC1DDF-6651-4063-A67F-6E2BC1D7AE35}" type="presParOf" srcId="{8313EFE9-E40C-4912-9C02-92EA65DB26AD}" destId="{86C2BE23-7E59-4E21-A0D1-C8DA488A3AE6}" srcOrd="3" destOrd="0" presId="urn:microsoft.com/office/officeart/2008/layout/VerticalCurvedList"/>
    <dgm:cxn modelId="{22281DD8-3C3B-4FC8-A0B8-3B83135D4AE7}" type="presParOf" srcId="{3173DEBA-F6B9-4E23-B040-808CCB87CB49}" destId="{8D9176B8-8888-493B-BEA4-69FAD50B2586}" srcOrd="1" destOrd="0" presId="urn:microsoft.com/office/officeart/2008/layout/VerticalCurvedList"/>
    <dgm:cxn modelId="{16913F7D-3C67-4113-A6CB-BF78EEB9231F}" type="presParOf" srcId="{3173DEBA-F6B9-4E23-B040-808CCB87CB49}" destId="{8EBE2943-1B97-463D-B5EF-67E564C483CB}" srcOrd="2" destOrd="0" presId="urn:microsoft.com/office/officeart/2008/layout/VerticalCurvedList"/>
    <dgm:cxn modelId="{6C34D97E-B74A-4B1F-85EE-E2202751FBD1}" type="presParOf" srcId="{8EBE2943-1B97-463D-B5EF-67E564C483CB}" destId="{0CB06EBD-5793-480D-B6B0-6C24099BFD14}" srcOrd="0" destOrd="0" presId="urn:microsoft.com/office/officeart/2008/layout/VerticalCurvedList"/>
    <dgm:cxn modelId="{7C9F7C70-0BDC-43C4-A655-6E19D80630C7}" type="presParOf" srcId="{3173DEBA-F6B9-4E23-B040-808CCB87CB49}" destId="{C20BC141-BA82-4360-8226-606861F8DE4B}" srcOrd="3" destOrd="0" presId="urn:microsoft.com/office/officeart/2008/layout/VerticalCurvedList"/>
    <dgm:cxn modelId="{25BEF391-9CFA-425F-B631-FA73C5A74D40}" type="presParOf" srcId="{3173DEBA-F6B9-4E23-B040-808CCB87CB49}" destId="{2D425522-373E-4BC4-9230-0D1349E00F3A}" srcOrd="4" destOrd="0" presId="urn:microsoft.com/office/officeart/2008/layout/VerticalCurvedList"/>
    <dgm:cxn modelId="{FC714AF6-D7FF-43D9-ACAA-6F4046DF51CE}" type="presParOf" srcId="{2D425522-373E-4BC4-9230-0D1349E00F3A}" destId="{0F2F2D0B-071D-4A0D-952C-62C68FE9E937}" srcOrd="0" destOrd="0" presId="urn:microsoft.com/office/officeart/2008/layout/VerticalCurvedList"/>
    <dgm:cxn modelId="{682CAE38-7B48-4197-94AC-469437A46A6C}" type="presParOf" srcId="{3173DEBA-F6B9-4E23-B040-808CCB87CB49}" destId="{7468CBB0-6635-47E8-9E8C-68668F9687E7}" srcOrd="5" destOrd="0" presId="urn:microsoft.com/office/officeart/2008/layout/VerticalCurvedList"/>
    <dgm:cxn modelId="{826D5BCE-2EC4-485C-94E9-67CA424236CB}" type="presParOf" srcId="{3173DEBA-F6B9-4E23-B040-808CCB87CB49}" destId="{A7B3C712-D80B-4BF9-BC56-62D513E448F6}" srcOrd="6" destOrd="0" presId="urn:microsoft.com/office/officeart/2008/layout/VerticalCurvedList"/>
    <dgm:cxn modelId="{E7414B2C-A3B2-47D3-A2A5-DB7579CD513C}" type="presParOf" srcId="{A7B3C712-D80B-4BF9-BC56-62D513E448F6}" destId="{DE48FF9F-03A8-42FB-B5FC-A439C9DF136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60B49C-8C9C-4C51-AC67-B3C712B5649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08F9A1-7905-4F78-8CE8-AC2F8D67F1C5}">
      <dgm:prSet phldrT="[Text]"/>
      <dgm:spPr/>
      <dgm:t>
        <a:bodyPr/>
        <a:lstStyle/>
        <a:p>
          <a:r>
            <a:rPr lang="en-IN" b="0" i="0" dirty="0" smtClean="0"/>
            <a:t>To access a Deployment with one or many PODs, you need a Kubernetes Service endpoint mapped to the deployment using labels and selectors.</a:t>
          </a:r>
          <a:endParaRPr lang="en-US" dirty="0"/>
        </a:p>
      </dgm:t>
    </dgm:pt>
    <dgm:pt modelId="{EAF41C72-319A-4994-966B-B9DF355D1E79}" type="sibTrans" cxnId="{AD0ADB2F-7B5F-4B7E-9A0E-8790EB319089}">
      <dgm:prSet/>
      <dgm:spPr/>
      <dgm:t>
        <a:bodyPr/>
        <a:lstStyle/>
        <a:p>
          <a:endParaRPr lang="en-US"/>
        </a:p>
      </dgm:t>
    </dgm:pt>
    <dgm:pt modelId="{6047BA86-FF64-457E-8762-E03390721B81}" type="parTrans" cxnId="{AD0ADB2F-7B5F-4B7E-9A0E-8790EB319089}">
      <dgm:prSet/>
      <dgm:spPr/>
      <dgm:t>
        <a:bodyPr/>
        <a:lstStyle/>
        <a:p>
          <a:endParaRPr lang="en-US"/>
        </a:p>
      </dgm:t>
    </dgm:pt>
    <dgm:pt modelId="{CE66D79E-624C-4B7B-9D01-F7FE7CC96E88}">
      <dgm:prSet phldrT="[Text]"/>
      <dgm:spPr/>
      <dgm:t>
        <a:bodyPr/>
        <a:lstStyle/>
        <a:p>
          <a:r>
            <a:rPr lang="en-IN" b="0" i="0" dirty="0" smtClean="0"/>
            <a:t>A deployment should have only stateless services. Any application that requires state management should be deployed as a Kubernetes </a:t>
          </a:r>
          <a:r>
            <a:rPr lang="en-IN" b="0" i="0" dirty="0" err="1" smtClean="0"/>
            <a:t>StatefulSet</a:t>
          </a:r>
          <a:r>
            <a:rPr lang="en-IN" b="0" i="0" dirty="0" smtClean="0"/>
            <a:t>.</a:t>
          </a:r>
          <a:endParaRPr lang="en-US" dirty="0"/>
        </a:p>
      </dgm:t>
    </dgm:pt>
    <dgm:pt modelId="{AE1318F4-61A2-43F0-A16B-640338725F54}" type="sibTrans" cxnId="{14132246-FCF8-4973-964F-11DFDC140350}">
      <dgm:prSet/>
      <dgm:spPr/>
      <dgm:t>
        <a:bodyPr/>
        <a:lstStyle/>
        <a:p>
          <a:endParaRPr lang="en-US"/>
        </a:p>
      </dgm:t>
    </dgm:pt>
    <dgm:pt modelId="{DE3E70B8-E4A8-4FA3-94D7-161D2C685901}" type="parTrans" cxnId="{14132246-FCF8-4973-964F-11DFDC140350}">
      <dgm:prSet/>
      <dgm:spPr/>
      <dgm:t>
        <a:bodyPr/>
        <a:lstStyle/>
        <a:p>
          <a:endParaRPr lang="en-US"/>
        </a:p>
      </dgm:t>
    </dgm:pt>
    <dgm:pt modelId="{7F38FAD1-CC65-43CC-84A6-52841C6270AB}" type="pres">
      <dgm:prSet presAssocID="{4660B49C-8C9C-4C51-AC67-B3C712B5649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173DEBA-F6B9-4E23-B040-808CCB87CB49}" type="pres">
      <dgm:prSet presAssocID="{4660B49C-8C9C-4C51-AC67-B3C712B5649A}" presName="Name1" presStyleCnt="0"/>
      <dgm:spPr/>
    </dgm:pt>
    <dgm:pt modelId="{8313EFE9-E40C-4912-9C02-92EA65DB26AD}" type="pres">
      <dgm:prSet presAssocID="{4660B49C-8C9C-4C51-AC67-B3C712B5649A}" presName="cycle" presStyleCnt="0"/>
      <dgm:spPr/>
    </dgm:pt>
    <dgm:pt modelId="{4F8BAE43-618F-462D-B888-6057F14779FE}" type="pres">
      <dgm:prSet presAssocID="{4660B49C-8C9C-4C51-AC67-B3C712B5649A}" presName="srcNode" presStyleLbl="node1" presStyleIdx="0" presStyleCnt="2"/>
      <dgm:spPr/>
    </dgm:pt>
    <dgm:pt modelId="{C1055AD5-A554-4A5B-A1F0-F081ED4AB289}" type="pres">
      <dgm:prSet presAssocID="{4660B49C-8C9C-4C51-AC67-B3C712B5649A}" presName="conn" presStyleLbl="parChTrans1D2" presStyleIdx="0" presStyleCnt="1"/>
      <dgm:spPr/>
      <dgm:t>
        <a:bodyPr/>
        <a:lstStyle/>
        <a:p>
          <a:endParaRPr lang="en-US"/>
        </a:p>
      </dgm:t>
    </dgm:pt>
    <dgm:pt modelId="{020B99AE-D949-4B97-8222-C074F9836F25}" type="pres">
      <dgm:prSet presAssocID="{4660B49C-8C9C-4C51-AC67-B3C712B5649A}" presName="extraNode" presStyleLbl="node1" presStyleIdx="0" presStyleCnt="2"/>
      <dgm:spPr/>
    </dgm:pt>
    <dgm:pt modelId="{86C2BE23-7E59-4E21-A0D1-C8DA488A3AE6}" type="pres">
      <dgm:prSet presAssocID="{4660B49C-8C9C-4C51-AC67-B3C712B5649A}" presName="dstNode" presStyleLbl="node1" presStyleIdx="0" presStyleCnt="2"/>
      <dgm:spPr/>
    </dgm:pt>
    <dgm:pt modelId="{8D9176B8-8888-493B-BEA4-69FAD50B2586}" type="pres">
      <dgm:prSet presAssocID="{4108F9A1-7905-4F78-8CE8-AC2F8D67F1C5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BE2943-1B97-463D-B5EF-67E564C483CB}" type="pres">
      <dgm:prSet presAssocID="{4108F9A1-7905-4F78-8CE8-AC2F8D67F1C5}" presName="accent_1" presStyleCnt="0"/>
      <dgm:spPr/>
    </dgm:pt>
    <dgm:pt modelId="{0CB06EBD-5793-480D-B6B0-6C24099BFD14}" type="pres">
      <dgm:prSet presAssocID="{4108F9A1-7905-4F78-8CE8-AC2F8D67F1C5}" presName="accentRepeatNode" presStyleLbl="solidFgAcc1" presStyleIdx="0" presStyleCnt="2"/>
      <dgm:spPr/>
    </dgm:pt>
    <dgm:pt modelId="{C20BC141-BA82-4360-8226-606861F8DE4B}" type="pres">
      <dgm:prSet presAssocID="{CE66D79E-624C-4B7B-9D01-F7FE7CC96E88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425522-373E-4BC4-9230-0D1349E00F3A}" type="pres">
      <dgm:prSet presAssocID="{CE66D79E-624C-4B7B-9D01-F7FE7CC96E88}" presName="accent_2" presStyleCnt="0"/>
      <dgm:spPr/>
    </dgm:pt>
    <dgm:pt modelId="{0F2F2D0B-071D-4A0D-952C-62C68FE9E937}" type="pres">
      <dgm:prSet presAssocID="{CE66D79E-624C-4B7B-9D01-F7FE7CC96E88}" presName="accentRepeatNode" presStyleLbl="solidFgAcc1" presStyleIdx="1" presStyleCnt="2"/>
      <dgm:spPr/>
    </dgm:pt>
  </dgm:ptLst>
  <dgm:cxnLst>
    <dgm:cxn modelId="{4B0DFF6C-C316-423F-AACF-A7D794051995}" type="presOf" srcId="{EAF41C72-319A-4994-966B-B9DF355D1E79}" destId="{C1055AD5-A554-4A5B-A1F0-F081ED4AB289}" srcOrd="0" destOrd="0" presId="urn:microsoft.com/office/officeart/2008/layout/VerticalCurvedList"/>
    <dgm:cxn modelId="{A880507D-B1F6-4C0E-A213-64864C4D732A}" type="presOf" srcId="{CE66D79E-624C-4B7B-9D01-F7FE7CC96E88}" destId="{C20BC141-BA82-4360-8226-606861F8DE4B}" srcOrd="0" destOrd="0" presId="urn:microsoft.com/office/officeart/2008/layout/VerticalCurvedList"/>
    <dgm:cxn modelId="{14132246-FCF8-4973-964F-11DFDC140350}" srcId="{4660B49C-8C9C-4C51-AC67-B3C712B5649A}" destId="{CE66D79E-624C-4B7B-9D01-F7FE7CC96E88}" srcOrd="1" destOrd="0" parTransId="{DE3E70B8-E4A8-4FA3-94D7-161D2C685901}" sibTransId="{AE1318F4-61A2-43F0-A16B-640338725F54}"/>
    <dgm:cxn modelId="{9EA2E6A9-E855-4AD8-AF9B-1FDD975235F1}" type="presOf" srcId="{4660B49C-8C9C-4C51-AC67-B3C712B5649A}" destId="{7F38FAD1-CC65-43CC-84A6-52841C6270AB}" srcOrd="0" destOrd="0" presId="urn:microsoft.com/office/officeart/2008/layout/VerticalCurvedList"/>
    <dgm:cxn modelId="{AD0ADB2F-7B5F-4B7E-9A0E-8790EB319089}" srcId="{4660B49C-8C9C-4C51-AC67-B3C712B5649A}" destId="{4108F9A1-7905-4F78-8CE8-AC2F8D67F1C5}" srcOrd="0" destOrd="0" parTransId="{6047BA86-FF64-457E-8762-E03390721B81}" sibTransId="{EAF41C72-319A-4994-966B-B9DF355D1E79}"/>
    <dgm:cxn modelId="{81A6748C-AA8A-47AA-B028-55B79C719B77}" type="presOf" srcId="{4108F9A1-7905-4F78-8CE8-AC2F8D67F1C5}" destId="{8D9176B8-8888-493B-BEA4-69FAD50B2586}" srcOrd="0" destOrd="0" presId="urn:microsoft.com/office/officeart/2008/layout/VerticalCurvedList"/>
    <dgm:cxn modelId="{19BF4C49-580F-4185-B3C1-7AC6936B8194}" type="presParOf" srcId="{7F38FAD1-CC65-43CC-84A6-52841C6270AB}" destId="{3173DEBA-F6B9-4E23-B040-808CCB87CB49}" srcOrd="0" destOrd="0" presId="urn:microsoft.com/office/officeart/2008/layout/VerticalCurvedList"/>
    <dgm:cxn modelId="{4A992D95-5FA3-4AA6-9FD4-0773EB253447}" type="presParOf" srcId="{3173DEBA-F6B9-4E23-B040-808CCB87CB49}" destId="{8313EFE9-E40C-4912-9C02-92EA65DB26AD}" srcOrd="0" destOrd="0" presId="urn:microsoft.com/office/officeart/2008/layout/VerticalCurvedList"/>
    <dgm:cxn modelId="{F3340D32-3965-496B-A028-23985D463CBA}" type="presParOf" srcId="{8313EFE9-E40C-4912-9C02-92EA65DB26AD}" destId="{4F8BAE43-618F-462D-B888-6057F14779FE}" srcOrd="0" destOrd="0" presId="urn:microsoft.com/office/officeart/2008/layout/VerticalCurvedList"/>
    <dgm:cxn modelId="{D9DB3605-7692-4362-BC33-ED92A1D6E3D4}" type="presParOf" srcId="{8313EFE9-E40C-4912-9C02-92EA65DB26AD}" destId="{C1055AD5-A554-4A5B-A1F0-F081ED4AB289}" srcOrd="1" destOrd="0" presId="urn:microsoft.com/office/officeart/2008/layout/VerticalCurvedList"/>
    <dgm:cxn modelId="{810C7E68-0545-4F47-8ACC-0E6BCFEDF664}" type="presParOf" srcId="{8313EFE9-E40C-4912-9C02-92EA65DB26AD}" destId="{020B99AE-D949-4B97-8222-C074F9836F25}" srcOrd="2" destOrd="0" presId="urn:microsoft.com/office/officeart/2008/layout/VerticalCurvedList"/>
    <dgm:cxn modelId="{D4BC1DDF-6651-4063-A67F-6E2BC1D7AE35}" type="presParOf" srcId="{8313EFE9-E40C-4912-9C02-92EA65DB26AD}" destId="{86C2BE23-7E59-4E21-A0D1-C8DA488A3AE6}" srcOrd="3" destOrd="0" presId="urn:microsoft.com/office/officeart/2008/layout/VerticalCurvedList"/>
    <dgm:cxn modelId="{22281DD8-3C3B-4FC8-A0B8-3B83135D4AE7}" type="presParOf" srcId="{3173DEBA-F6B9-4E23-B040-808CCB87CB49}" destId="{8D9176B8-8888-493B-BEA4-69FAD50B2586}" srcOrd="1" destOrd="0" presId="urn:microsoft.com/office/officeart/2008/layout/VerticalCurvedList"/>
    <dgm:cxn modelId="{16913F7D-3C67-4113-A6CB-BF78EEB9231F}" type="presParOf" srcId="{3173DEBA-F6B9-4E23-B040-808CCB87CB49}" destId="{8EBE2943-1B97-463D-B5EF-67E564C483CB}" srcOrd="2" destOrd="0" presId="urn:microsoft.com/office/officeart/2008/layout/VerticalCurvedList"/>
    <dgm:cxn modelId="{6C34D97E-B74A-4B1F-85EE-E2202751FBD1}" type="presParOf" srcId="{8EBE2943-1B97-463D-B5EF-67E564C483CB}" destId="{0CB06EBD-5793-480D-B6B0-6C24099BFD14}" srcOrd="0" destOrd="0" presId="urn:microsoft.com/office/officeart/2008/layout/VerticalCurvedList"/>
    <dgm:cxn modelId="{7C9F7C70-0BDC-43C4-A655-6E19D80630C7}" type="presParOf" srcId="{3173DEBA-F6B9-4E23-B040-808CCB87CB49}" destId="{C20BC141-BA82-4360-8226-606861F8DE4B}" srcOrd="3" destOrd="0" presId="urn:microsoft.com/office/officeart/2008/layout/VerticalCurvedList"/>
    <dgm:cxn modelId="{25BEF391-9CFA-425F-B631-FA73C5A74D40}" type="presParOf" srcId="{3173DEBA-F6B9-4E23-B040-808CCB87CB49}" destId="{2D425522-373E-4BC4-9230-0D1349E00F3A}" srcOrd="4" destOrd="0" presId="urn:microsoft.com/office/officeart/2008/layout/VerticalCurvedList"/>
    <dgm:cxn modelId="{FC714AF6-D7FF-43D9-ACAA-6F4046DF51CE}" type="presParOf" srcId="{2D425522-373E-4BC4-9230-0D1349E00F3A}" destId="{0F2F2D0B-071D-4A0D-952C-62C68FE9E9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60B49C-8C9C-4C51-AC67-B3C712B5649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08F9A1-7905-4F78-8CE8-AC2F8D67F1C5}">
      <dgm:prSet phldrT="[Text]"/>
      <dgm:spPr/>
      <dgm:t>
        <a:bodyPr/>
        <a:lstStyle/>
        <a:p>
          <a:r>
            <a:rPr lang="en-IN" b="0" i="0" dirty="0" smtClean="0"/>
            <a:t>To access a Deployment with one or many PODs, you need a Kubernetes Service endpoint mapped to the deployment using labels and selectors.</a:t>
          </a:r>
          <a:endParaRPr lang="en-US" dirty="0"/>
        </a:p>
      </dgm:t>
    </dgm:pt>
    <dgm:pt modelId="{EAF41C72-319A-4994-966B-B9DF355D1E79}" type="sibTrans" cxnId="{AD0ADB2F-7B5F-4B7E-9A0E-8790EB319089}">
      <dgm:prSet/>
      <dgm:spPr/>
      <dgm:t>
        <a:bodyPr/>
        <a:lstStyle/>
        <a:p>
          <a:endParaRPr lang="en-US"/>
        </a:p>
      </dgm:t>
    </dgm:pt>
    <dgm:pt modelId="{6047BA86-FF64-457E-8762-E03390721B81}" type="parTrans" cxnId="{AD0ADB2F-7B5F-4B7E-9A0E-8790EB319089}">
      <dgm:prSet/>
      <dgm:spPr/>
      <dgm:t>
        <a:bodyPr/>
        <a:lstStyle/>
        <a:p>
          <a:endParaRPr lang="en-US"/>
        </a:p>
      </dgm:t>
    </dgm:pt>
    <dgm:pt modelId="{CE66D79E-624C-4B7B-9D01-F7FE7CC96E88}">
      <dgm:prSet phldrT="[Text]"/>
      <dgm:spPr/>
      <dgm:t>
        <a:bodyPr/>
        <a:lstStyle/>
        <a:p>
          <a:r>
            <a:rPr lang="en-IN" b="0" i="0" dirty="0" smtClean="0"/>
            <a:t>A deployment should have only stateless services. Any application that requires state management should be deployed as a Kubernetes </a:t>
          </a:r>
          <a:r>
            <a:rPr lang="en-IN" b="0" i="0" dirty="0" err="1" smtClean="0"/>
            <a:t>StatefulSet</a:t>
          </a:r>
          <a:r>
            <a:rPr lang="en-IN" b="0" i="0" dirty="0" smtClean="0"/>
            <a:t>.</a:t>
          </a:r>
          <a:endParaRPr lang="en-US" dirty="0"/>
        </a:p>
      </dgm:t>
    </dgm:pt>
    <dgm:pt modelId="{AE1318F4-61A2-43F0-A16B-640338725F54}" type="sibTrans" cxnId="{14132246-FCF8-4973-964F-11DFDC140350}">
      <dgm:prSet/>
      <dgm:spPr/>
      <dgm:t>
        <a:bodyPr/>
        <a:lstStyle/>
        <a:p>
          <a:endParaRPr lang="en-US"/>
        </a:p>
      </dgm:t>
    </dgm:pt>
    <dgm:pt modelId="{DE3E70B8-E4A8-4FA3-94D7-161D2C685901}" type="parTrans" cxnId="{14132246-FCF8-4973-964F-11DFDC140350}">
      <dgm:prSet/>
      <dgm:spPr/>
      <dgm:t>
        <a:bodyPr/>
        <a:lstStyle/>
        <a:p>
          <a:endParaRPr lang="en-US"/>
        </a:p>
      </dgm:t>
    </dgm:pt>
    <dgm:pt modelId="{7F38FAD1-CC65-43CC-84A6-52841C6270AB}" type="pres">
      <dgm:prSet presAssocID="{4660B49C-8C9C-4C51-AC67-B3C712B5649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173DEBA-F6B9-4E23-B040-808CCB87CB49}" type="pres">
      <dgm:prSet presAssocID="{4660B49C-8C9C-4C51-AC67-B3C712B5649A}" presName="Name1" presStyleCnt="0"/>
      <dgm:spPr/>
    </dgm:pt>
    <dgm:pt modelId="{8313EFE9-E40C-4912-9C02-92EA65DB26AD}" type="pres">
      <dgm:prSet presAssocID="{4660B49C-8C9C-4C51-AC67-B3C712B5649A}" presName="cycle" presStyleCnt="0"/>
      <dgm:spPr/>
    </dgm:pt>
    <dgm:pt modelId="{4F8BAE43-618F-462D-B888-6057F14779FE}" type="pres">
      <dgm:prSet presAssocID="{4660B49C-8C9C-4C51-AC67-B3C712B5649A}" presName="srcNode" presStyleLbl="node1" presStyleIdx="0" presStyleCnt="2"/>
      <dgm:spPr/>
    </dgm:pt>
    <dgm:pt modelId="{C1055AD5-A554-4A5B-A1F0-F081ED4AB289}" type="pres">
      <dgm:prSet presAssocID="{4660B49C-8C9C-4C51-AC67-B3C712B5649A}" presName="conn" presStyleLbl="parChTrans1D2" presStyleIdx="0" presStyleCnt="1"/>
      <dgm:spPr/>
      <dgm:t>
        <a:bodyPr/>
        <a:lstStyle/>
        <a:p>
          <a:endParaRPr lang="en-US"/>
        </a:p>
      </dgm:t>
    </dgm:pt>
    <dgm:pt modelId="{020B99AE-D949-4B97-8222-C074F9836F25}" type="pres">
      <dgm:prSet presAssocID="{4660B49C-8C9C-4C51-AC67-B3C712B5649A}" presName="extraNode" presStyleLbl="node1" presStyleIdx="0" presStyleCnt="2"/>
      <dgm:spPr/>
    </dgm:pt>
    <dgm:pt modelId="{86C2BE23-7E59-4E21-A0D1-C8DA488A3AE6}" type="pres">
      <dgm:prSet presAssocID="{4660B49C-8C9C-4C51-AC67-B3C712B5649A}" presName="dstNode" presStyleLbl="node1" presStyleIdx="0" presStyleCnt="2"/>
      <dgm:spPr/>
    </dgm:pt>
    <dgm:pt modelId="{8D9176B8-8888-493B-BEA4-69FAD50B2586}" type="pres">
      <dgm:prSet presAssocID="{4108F9A1-7905-4F78-8CE8-AC2F8D67F1C5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BE2943-1B97-463D-B5EF-67E564C483CB}" type="pres">
      <dgm:prSet presAssocID="{4108F9A1-7905-4F78-8CE8-AC2F8D67F1C5}" presName="accent_1" presStyleCnt="0"/>
      <dgm:spPr/>
    </dgm:pt>
    <dgm:pt modelId="{0CB06EBD-5793-480D-B6B0-6C24099BFD14}" type="pres">
      <dgm:prSet presAssocID="{4108F9A1-7905-4F78-8CE8-AC2F8D67F1C5}" presName="accentRepeatNode" presStyleLbl="solidFgAcc1" presStyleIdx="0" presStyleCnt="2"/>
      <dgm:spPr/>
    </dgm:pt>
    <dgm:pt modelId="{C20BC141-BA82-4360-8226-606861F8DE4B}" type="pres">
      <dgm:prSet presAssocID="{CE66D79E-624C-4B7B-9D01-F7FE7CC96E88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425522-373E-4BC4-9230-0D1349E00F3A}" type="pres">
      <dgm:prSet presAssocID="{CE66D79E-624C-4B7B-9D01-F7FE7CC96E88}" presName="accent_2" presStyleCnt="0"/>
      <dgm:spPr/>
    </dgm:pt>
    <dgm:pt modelId="{0F2F2D0B-071D-4A0D-952C-62C68FE9E937}" type="pres">
      <dgm:prSet presAssocID="{CE66D79E-624C-4B7B-9D01-F7FE7CC96E88}" presName="accentRepeatNode" presStyleLbl="solidFgAcc1" presStyleIdx="1" presStyleCnt="2"/>
      <dgm:spPr/>
    </dgm:pt>
  </dgm:ptLst>
  <dgm:cxnLst>
    <dgm:cxn modelId="{4B0DFF6C-C316-423F-AACF-A7D794051995}" type="presOf" srcId="{EAF41C72-319A-4994-966B-B9DF355D1E79}" destId="{C1055AD5-A554-4A5B-A1F0-F081ED4AB289}" srcOrd="0" destOrd="0" presId="urn:microsoft.com/office/officeart/2008/layout/VerticalCurvedList"/>
    <dgm:cxn modelId="{A880507D-B1F6-4C0E-A213-64864C4D732A}" type="presOf" srcId="{CE66D79E-624C-4B7B-9D01-F7FE7CC96E88}" destId="{C20BC141-BA82-4360-8226-606861F8DE4B}" srcOrd="0" destOrd="0" presId="urn:microsoft.com/office/officeart/2008/layout/VerticalCurvedList"/>
    <dgm:cxn modelId="{14132246-FCF8-4973-964F-11DFDC140350}" srcId="{4660B49C-8C9C-4C51-AC67-B3C712B5649A}" destId="{CE66D79E-624C-4B7B-9D01-F7FE7CC96E88}" srcOrd="1" destOrd="0" parTransId="{DE3E70B8-E4A8-4FA3-94D7-161D2C685901}" sibTransId="{AE1318F4-61A2-43F0-A16B-640338725F54}"/>
    <dgm:cxn modelId="{AD0ADB2F-7B5F-4B7E-9A0E-8790EB319089}" srcId="{4660B49C-8C9C-4C51-AC67-B3C712B5649A}" destId="{4108F9A1-7905-4F78-8CE8-AC2F8D67F1C5}" srcOrd="0" destOrd="0" parTransId="{6047BA86-FF64-457E-8762-E03390721B81}" sibTransId="{EAF41C72-319A-4994-966B-B9DF355D1E79}"/>
    <dgm:cxn modelId="{9EA2E6A9-E855-4AD8-AF9B-1FDD975235F1}" type="presOf" srcId="{4660B49C-8C9C-4C51-AC67-B3C712B5649A}" destId="{7F38FAD1-CC65-43CC-84A6-52841C6270AB}" srcOrd="0" destOrd="0" presId="urn:microsoft.com/office/officeart/2008/layout/VerticalCurvedList"/>
    <dgm:cxn modelId="{81A6748C-AA8A-47AA-B028-55B79C719B77}" type="presOf" srcId="{4108F9A1-7905-4F78-8CE8-AC2F8D67F1C5}" destId="{8D9176B8-8888-493B-BEA4-69FAD50B2586}" srcOrd="0" destOrd="0" presId="urn:microsoft.com/office/officeart/2008/layout/VerticalCurvedList"/>
    <dgm:cxn modelId="{19BF4C49-580F-4185-B3C1-7AC6936B8194}" type="presParOf" srcId="{7F38FAD1-CC65-43CC-84A6-52841C6270AB}" destId="{3173DEBA-F6B9-4E23-B040-808CCB87CB49}" srcOrd="0" destOrd="0" presId="urn:microsoft.com/office/officeart/2008/layout/VerticalCurvedList"/>
    <dgm:cxn modelId="{4A992D95-5FA3-4AA6-9FD4-0773EB253447}" type="presParOf" srcId="{3173DEBA-F6B9-4E23-B040-808CCB87CB49}" destId="{8313EFE9-E40C-4912-9C02-92EA65DB26AD}" srcOrd="0" destOrd="0" presId="urn:microsoft.com/office/officeart/2008/layout/VerticalCurvedList"/>
    <dgm:cxn modelId="{F3340D32-3965-496B-A028-23985D463CBA}" type="presParOf" srcId="{8313EFE9-E40C-4912-9C02-92EA65DB26AD}" destId="{4F8BAE43-618F-462D-B888-6057F14779FE}" srcOrd="0" destOrd="0" presId="urn:microsoft.com/office/officeart/2008/layout/VerticalCurvedList"/>
    <dgm:cxn modelId="{D9DB3605-7692-4362-BC33-ED92A1D6E3D4}" type="presParOf" srcId="{8313EFE9-E40C-4912-9C02-92EA65DB26AD}" destId="{C1055AD5-A554-4A5B-A1F0-F081ED4AB289}" srcOrd="1" destOrd="0" presId="urn:microsoft.com/office/officeart/2008/layout/VerticalCurvedList"/>
    <dgm:cxn modelId="{810C7E68-0545-4F47-8ACC-0E6BCFEDF664}" type="presParOf" srcId="{8313EFE9-E40C-4912-9C02-92EA65DB26AD}" destId="{020B99AE-D949-4B97-8222-C074F9836F25}" srcOrd="2" destOrd="0" presId="urn:microsoft.com/office/officeart/2008/layout/VerticalCurvedList"/>
    <dgm:cxn modelId="{D4BC1DDF-6651-4063-A67F-6E2BC1D7AE35}" type="presParOf" srcId="{8313EFE9-E40C-4912-9C02-92EA65DB26AD}" destId="{86C2BE23-7E59-4E21-A0D1-C8DA488A3AE6}" srcOrd="3" destOrd="0" presId="urn:microsoft.com/office/officeart/2008/layout/VerticalCurvedList"/>
    <dgm:cxn modelId="{22281DD8-3C3B-4FC8-A0B8-3B83135D4AE7}" type="presParOf" srcId="{3173DEBA-F6B9-4E23-B040-808CCB87CB49}" destId="{8D9176B8-8888-493B-BEA4-69FAD50B2586}" srcOrd="1" destOrd="0" presId="urn:microsoft.com/office/officeart/2008/layout/VerticalCurvedList"/>
    <dgm:cxn modelId="{16913F7D-3C67-4113-A6CB-BF78EEB9231F}" type="presParOf" srcId="{3173DEBA-F6B9-4E23-B040-808CCB87CB49}" destId="{8EBE2943-1B97-463D-B5EF-67E564C483CB}" srcOrd="2" destOrd="0" presId="urn:microsoft.com/office/officeart/2008/layout/VerticalCurvedList"/>
    <dgm:cxn modelId="{6C34D97E-B74A-4B1F-85EE-E2202751FBD1}" type="presParOf" srcId="{8EBE2943-1B97-463D-B5EF-67E564C483CB}" destId="{0CB06EBD-5793-480D-B6B0-6C24099BFD14}" srcOrd="0" destOrd="0" presId="urn:microsoft.com/office/officeart/2008/layout/VerticalCurvedList"/>
    <dgm:cxn modelId="{7C9F7C70-0BDC-43C4-A655-6E19D80630C7}" type="presParOf" srcId="{3173DEBA-F6B9-4E23-B040-808CCB87CB49}" destId="{C20BC141-BA82-4360-8226-606861F8DE4B}" srcOrd="3" destOrd="0" presId="urn:microsoft.com/office/officeart/2008/layout/VerticalCurvedList"/>
    <dgm:cxn modelId="{25BEF391-9CFA-425F-B631-FA73C5A74D40}" type="presParOf" srcId="{3173DEBA-F6B9-4E23-B040-808CCB87CB49}" destId="{2D425522-373E-4BC4-9230-0D1349E00F3A}" srcOrd="4" destOrd="0" presId="urn:microsoft.com/office/officeart/2008/layout/VerticalCurvedList"/>
    <dgm:cxn modelId="{FC714AF6-D7FF-43D9-ACAA-6F4046DF51CE}" type="presParOf" srcId="{2D425522-373E-4BC4-9230-0D1349E00F3A}" destId="{0F2F2D0B-071D-4A0D-952C-62C68FE9E93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656358-D990-414A-A2AA-6808AD41F3CF}">
      <dsp:nvSpPr>
        <dsp:cNvPr id="0" name=""/>
        <dsp:cNvSpPr/>
      </dsp:nvSpPr>
      <dsp:spPr>
        <a:xfrm>
          <a:off x="712958" y="1299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Module Overview</a:t>
          </a:r>
          <a:endParaRPr lang="en-US" sz="2200" kern="1200" dirty="0"/>
        </a:p>
      </dsp:txBody>
      <dsp:txXfrm>
        <a:off x="712958" y="1299"/>
        <a:ext cx="5368583" cy="488053"/>
      </dsp:txXfrm>
    </dsp:sp>
    <dsp:sp modelId="{73EE8E2D-6812-40FB-AAE5-CE9CDC54C68B}">
      <dsp:nvSpPr>
        <dsp:cNvPr id="0" name=""/>
        <dsp:cNvSpPr/>
      </dsp:nvSpPr>
      <dsp:spPr>
        <a:xfrm>
          <a:off x="712958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435188-FFC6-4458-9920-18C48127181C}">
      <dsp:nvSpPr>
        <dsp:cNvPr id="0" name=""/>
        <dsp:cNvSpPr/>
      </dsp:nvSpPr>
      <dsp:spPr>
        <a:xfrm>
          <a:off x="1470524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016C47-552A-4EAC-91E4-1D5442C86F5B}">
      <dsp:nvSpPr>
        <dsp:cNvPr id="0" name=""/>
        <dsp:cNvSpPr/>
      </dsp:nvSpPr>
      <dsp:spPr>
        <a:xfrm>
          <a:off x="2228091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DCAEA6-20DB-459D-8638-2095852E5087}">
      <dsp:nvSpPr>
        <dsp:cNvPr id="0" name=""/>
        <dsp:cNvSpPr/>
      </dsp:nvSpPr>
      <dsp:spPr>
        <a:xfrm>
          <a:off x="2985658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2134F3-43D3-4FB7-B7AD-27D514D796D0}">
      <dsp:nvSpPr>
        <dsp:cNvPr id="0" name=""/>
        <dsp:cNvSpPr/>
      </dsp:nvSpPr>
      <dsp:spPr>
        <a:xfrm>
          <a:off x="3743225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D13CB1-BCDF-4B2F-927A-42061F45252D}">
      <dsp:nvSpPr>
        <dsp:cNvPr id="0" name=""/>
        <dsp:cNvSpPr/>
      </dsp:nvSpPr>
      <dsp:spPr>
        <a:xfrm>
          <a:off x="4500792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A25E16-7DF4-498C-B0BE-E53C4594E1A5}">
      <dsp:nvSpPr>
        <dsp:cNvPr id="0" name=""/>
        <dsp:cNvSpPr/>
      </dsp:nvSpPr>
      <dsp:spPr>
        <a:xfrm>
          <a:off x="5258359" y="489352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A5D084-7BC6-4561-814F-2849CA63EA58}">
      <dsp:nvSpPr>
        <dsp:cNvPr id="0" name=""/>
        <dsp:cNvSpPr/>
      </dsp:nvSpPr>
      <dsp:spPr>
        <a:xfrm>
          <a:off x="712958" y="678848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Kubernetes Deployment Theory</a:t>
          </a:r>
          <a:endParaRPr lang="en-US" sz="2200" kern="1200" dirty="0"/>
        </a:p>
      </dsp:txBody>
      <dsp:txXfrm>
        <a:off x="712958" y="678848"/>
        <a:ext cx="5368583" cy="488053"/>
      </dsp:txXfrm>
    </dsp:sp>
    <dsp:sp modelId="{E01FD87B-14DB-4D5E-8E57-399BE45FB165}">
      <dsp:nvSpPr>
        <dsp:cNvPr id="0" name=""/>
        <dsp:cNvSpPr/>
      </dsp:nvSpPr>
      <dsp:spPr>
        <a:xfrm>
          <a:off x="712958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B7D716-4B36-4EE9-89A2-D0AAA1AB4764}">
      <dsp:nvSpPr>
        <dsp:cNvPr id="0" name=""/>
        <dsp:cNvSpPr/>
      </dsp:nvSpPr>
      <dsp:spPr>
        <a:xfrm>
          <a:off x="1470524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9B14CF-2380-4D0A-9AA3-0F66693437B7}">
      <dsp:nvSpPr>
        <dsp:cNvPr id="0" name=""/>
        <dsp:cNvSpPr/>
      </dsp:nvSpPr>
      <dsp:spPr>
        <a:xfrm>
          <a:off x="2228091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884B77-BF7B-4FC0-9D00-51B5F17EBF7D}">
      <dsp:nvSpPr>
        <dsp:cNvPr id="0" name=""/>
        <dsp:cNvSpPr/>
      </dsp:nvSpPr>
      <dsp:spPr>
        <a:xfrm>
          <a:off x="2985658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529FEF-28B8-4E34-9C54-CF1E9C9C412B}">
      <dsp:nvSpPr>
        <dsp:cNvPr id="0" name=""/>
        <dsp:cNvSpPr/>
      </dsp:nvSpPr>
      <dsp:spPr>
        <a:xfrm>
          <a:off x="3743225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C95DA3-A843-4CA2-AC28-E5BDD76F656A}">
      <dsp:nvSpPr>
        <dsp:cNvPr id="0" name=""/>
        <dsp:cNvSpPr/>
      </dsp:nvSpPr>
      <dsp:spPr>
        <a:xfrm>
          <a:off x="4500792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F6C7A1-CEDA-4597-AD5E-9591CF252A12}">
      <dsp:nvSpPr>
        <dsp:cNvPr id="0" name=""/>
        <dsp:cNvSpPr/>
      </dsp:nvSpPr>
      <dsp:spPr>
        <a:xfrm>
          <a:off x="5258359" y="1166901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748BDC-6765-4BA8-AC5D-E654A94F3821}">
      <dsp:nvSpPr>
        <dsp:cNvPr id="0" name=""/>
        <dsp:cNvSpPr/>
      </dsp:nvSpPr>
      <dsp:spPr>
        <a:xfrm>
          <a:off x="712958" y="1356397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reating a Deployment YAML</a:t>
          </a:r>
          <a:endParaRPr lang="en-US" sz="2200" kern="1200" dirty="0"/>
        </a:p>
      </dsp:txBody>
      <dsp:txXfrm>
        <a:off x="712958" y="1356397"/>
        <a:ext cx="5368583" cy="488053"/>
      </dsp:txXfrm>
    </dsp:sp>
    <dsp:sp modelId="{B23D5DFF-277F-47EC-B766-254B7843A471}">
      <dsp:nvSpPr>
        <dsp:cNvPr id="0" name=""/>
        <dsp:cNvSpPr/>
      </dsp:nvSpPr>
      <dsp:spPr>
        <a:xfrm>
          <a:off x="712958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C2C858-E7FD-454E-810F-3833E4F6A4FE}">
      <dsp:nvSpPr>
        <dsp:cNvPr id="0" name=""/>
        <dsp:cNvSpPr/>
      </dsp:nvSpPr>
      <dsp:spPr>
        <a:xfrm>
          <a:off x="1470524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7A7113-372D-4E83-A998-04EBAEA17532}">
      <dsp:nvSpPr>
        <dsp:cNvPr id="0" name=""/>
        <dsp:cNvSpPr/>
      </dsp:nvSpPr>
      <dsp:spPr>
        <a:xfrm>
          <a:off x="2228091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F9115D-69E8-4929-A843-4DA0FF8D50EC}">
      <dsp:nvSpPr>
        <dsp:cNvPr id="0" name=""/>
        <dsp:cNvSpPr/>
      </dsp:nvSpPr>
      <dsp:spPr>
        <a:xfrm>
          <a:off x="2985658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AD7304-F4B3-446A-B79E-0F71D30FD4BA}">
      <dsp:nvSpPr>
        <dsp:cNvPr id="0" name=""/>
        <dsp:cNvSpPr/>
      </dsp:nvSpPr>
      <dsp:spPr>
        <a:xfrm>
          <a:off x="3743225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44AF08-7521-4F1F-B869-FF9FD3CD437B}">
      <dsp:nvSpPr>
        <dsp:cNvPr id="0" name=""/>
        <dsp:cNvSpPr/>
      </dsp:nvSpPr>
      <dsp:spPr>
        <a:xfrm>
          <a:off x="4500792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4A51C2-27BD-452A-9848-98953F73DAEE}">
      <dsp:nvSpPr>
        <dsp:cNvPr id="0" name=""/>
        <dsp:cNvSpPr/>
      </dsp:nvSpPr>
      <dsp:spPr>
        <a:xfrm>
          <a:off x="5258359" y="1844450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7E7FB8-1F73-4BDE-B97E-89EF340E6C79}">
      <dsp:nvSpPr>
        <dsp:cNvPr id="0" name=""/>
        <dsp:cNvSpPr/>
      </dsp:nvSpPr>
      <dsp:spPr>
        <a:xfrm>
          <a:off x="712958" y="2033946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eploying a Deployment</a:t>
          </a:r>
          <a:endParaRPr lang="en-US" sz="2200" kern="1200" dirty="0"/>
        </a:p>
      </dsp:txBody>
      <dsp:txXfrm>
        <a:off x="712958" y="2033946"/>
        <a:ext cx="5368583" cy="488053"/>
      </dsp:txXfrm>
    </dsp:sp>
    <dsp:sp modelId="{B17A0E64-2F7F-4410-AF9A-B2443DA355F4}">
      <dsp:nvSpPr>
        <dsp:cNvPr id="0" name=""/>
        <dsp:cNvSpPr/>
      </dsp:nvSpPr>
      <dsp:spPr>
        <a:xfrm>
          <a:off x="712958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3060E6-1D08-4545-9833-86AB6BEA93AC}">
      <dsp:nvSpPr>
        <dsp:cNvPr id="0" name=""/>
        <dsp:cNvSpPr/>
      </dsp:nvSpPr>
      <dsp:spPr>
        <a:xfrm>
          <a:off x="1470524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11CAF1-D925-4558-9B45-C3FC838808B2}">
      <dsp:nvSpPr>
        <dsp:cNvPr id="0" name=""/>
        <dsp:cNvSpPr/>
      </dsp:nvSpPr>
      <dsp:spPr>
        <a:xfrm>
          <a:off x="2228091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10008F-B4B1-4725-90D8-942B608B2ACF}">
      <dsp:nvSpPr>
        <dsp:cNvPr id="0" name=""/>
        <dsp:cNvSpPr/>
      </dsp:nvSpPr>
      <dsp:spPr>
        <a:xfrm>
          <a:off x="2985658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4C4818-708B-41F9-BCC5-3E5005F68C11}">
      <dsp:nvSpPr>
        <dsp:cNvPr id="0" name=""/>
        <dsp:cNvSpPr/>
      </dsp:nvSpPr>
      <dsp:spPr>
        <a:xfrm>
          <a:off x="3743225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F84DB7-3AD3-4912-B40E-F3BCFB916A9E}">
      <dsp:nvSpPr>
        <dsp:cNvPr id="0" name=""/>
        <dsp:cNvSpPr/>
      </dsp:nvSpPr>
      <dsp:spPr>
        <a:xfrm>
          <a:off x="4500792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854234-D552-4DE5-B8C9-E58F1279BE6C}">
      <dsp:nvSpPr>
        <dsp:cNvPr id="0" name=""/>
        <dsp:cNvSpPr/>
      </dsp:nvSpPr>
      <dsp:spPr>
        <a:xfrm>
          <a:off x="5258359" y="2521999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FEF2A5-8C22-489A-AFC9-B299E7858259}">
      <dsp:nvSpPr>
        <dsp:cNvPr id="0" name=""/>
        <dsp:cNvSpPr/>
      </dsp:nvSpPr>
      <dsp:spPr>
        <a:xfrm>
          <a:off x="712958" y="2711495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elf-healing and Scaling</a:t>
          </a:r>
          <a:endParaRPr lang="en-US" sz="2200" kern="1200" dirty="0"/>
        </a:p>
      </dsp:txBody>
      <dsp:txXfrm>
        <a:off x="712958" y="2711495"/>
        <a:ext cx="5368583" cy="488053"/>
      </dsp:txXfrm>
    </dsp:sp>
    <dsp:sp modelId="{7C1BAF8C-7C61-4904-A1CB-4F7EBEBD148F}">
      <dsp:nvSpPr>
        <dsp:cNvPr id="0" name=""/>
        <dsp:cNvSpPr/>
      </dsp:nvSpPr>
      <dsp:spPr>
        <a:xfrm>
          <a:off x="712958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378F01-4977-4699-901A-DCC418FE836A}">
      <dsp:nvSpPr>
        <dsp:cNvPr id="0" name=""/>
        <dsp:cNvSpPr/>
      </dsp:nvSpPr>
      <dsp:spPr>
        <a:xfrm>
          <a:off x="1470524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F1B0A3-52A8-44CE-91F1-AA33ADE1D63B}">
      <dsp:nvSpPr>
        <dsp:cNvPr id="0" name=""/>
        <dsp:cNvSpPr/>
      </dsp:nvSpPr>
      <dsp:spPr>
        <a:xfrm>
          <a:off x="2228091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458437-E16B-4FA7-A607-E195AAA522DE}">
      <dsp:nvSpPr>
        <dsp:cNvPr id="0" name=""/>
        <dsp:cNvSpPr/>
      </dsp:nvSpPr>
      <dsp:spPr>
        <a:xfrm>
          <a:off x="2985658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3071A9-5E3D-4C45-A591-D64B2052514D}">
      <dsp:nvSpPr>
        <dsp:cNvPr id="0" name=""/>
        <dsp:cNvSpPr/>
      </dsp:nvSpPr>
      <dsp:spPr>
        <a:xfrm>
          <a:off x="3743225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A5F382-E1C8-4C93-9FF7-4B8843E5AB35}">
      <dsp:nvSpPr>
        <dsp:cNvPr id="0" name=""/>
        <dsp:cNvSpPr/>
      </dsp:nvSpPr>
      <dsp:spPr>
        <a:xfrm>
          <a:off x="4500792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4F91EE-3659-4890-A42F-A8390AA14599}">
      <dsp:nvSpPr>
        <dsp:cNvPr id="0" name=""/>
        <dsp:cNvSpPr/>
      </dsp:nvSpPr>
      <dsp:spPr>
        <a:xfrm>
          <a:off x="5258359" y="3199548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D4BBF9-86C1-46A1-85D7-AB4B9A08027F}">
      <dsp:nvSpPr>
        <dsp:cNvPr id="0" name=""/>
        <dsp:cNvSpPr/>
      </dsp:nvSpPr>
      <dsp:spPr>
        <a:xfrm>
          <a:off x="712958" y="3389044"/>
          <a:ext cx="5368583" cy="488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b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Rolling Updates and Rollbacks</a:t>
          </a:r>
          <a:endParaRPr lang="en-US" sz="2200" kern="1200" dirty="0"/>
        </a:p>
      </dsp:txBody>
      <dsp:txXfrm>
        <a:off x="712958" y="3389044"/>
        <a:ext cx="5368583" cy="488053"/>
      </dsp:txXfrm>
    </dsp:sp>
    <dsp:sp modelId="{60E5730D-A2B1-48CA-9C4D-510E4ED154CF}">
      <dsp:nvSpPr>
        <dsp:cNvPr id="0" name=""/>
        <dsp:cNvSpPr/>
      </dsp:nvSpPr>
      <dsp:spPr>
        <a:xfrm>
          <a:off x="712958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FBA239-A48A-4D33-8137-43BED3732530}">
      <dsp:nvSpPr>
        <dsp:cNvPr id="0" name=""/>
        <dsp:cNvSpPr/>
      </dsp:nvSpPr>
      <dsp:spPr>
        <a:xfrm>
          <a:off x="1470524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05BDBC-4A05-4E21-8401-5F35D8230C76}">
      <dsp:nvSpPr>
        <dsp:cNvPr id="0" name=""/>
        <dsp:cNvSpPr/>
      </dsp:nvSpPr>
      <dsp:spPr>
        <a:xfrm>
          <a:off x="2228091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8A6E6F-F4D7-4796-A54D-B5B7B7536E69}">
      <dsp:nvSpPr>
        <dsp:cNvPr id="0" name=""/>
        <dsp:cNvSpPr/>
      </dsp:nvSpPr>
      <dsp:spPr>
        <a:xfrm>
          <a:off x="2985658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5DE1A5-521B-413F-9CBA-A7114D9DA3D6}">
      <dsp:nvSpPr>
        <dsp:cNvPr id="0" name=""/>
        <dsp:cNvSpPr/>
      </dsp:nvSpPr>
      <dsp:spPr>
        <a:xfrm>
          <a:off x="3743225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09B03A-56A8-48CF-9B2C-16C4FA44F06E}">
      <dsp:nvSpPr>
        <dsp:cNvPr id="0" name=""/>
        <dsp:cNvSpPr/>
      </dsp:nvSpPr>
      <dsp:spPr>
        <a:xfrm>
          <a:off x="4500792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6D40E1-18B8-4C7A-941A-8AB559BE591C}">
      <dsp:nvSpPr>
        <dsp:cNvPr id="0" name=""/>
        <dsp:cNvSpPr/>
      </dsp:nvSpPr>
      <dsp:spPr>
        <a:xfrm>
          <a:off x="5258359" y="3877097"/>
          <a:ext cx="715811" cy="119301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55AD5-A554-4A5B-A1F0-F081ED4AB289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176B8-8888-493B-BEA4-69FAD50B2586}">
      <dsp:nvSpPr>
        <dsp:cNvPr id="0" name=""/>
        <dsp:cNvSpPr/>
      </dsp:nvSpPr>
      <dsp:spPr>
        <a:xfrm>
          <a:off x="460128" y="312440"/>
          <a:ext cx="5580684" cy="625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625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eployment can manage multiple replicas  of same  pods. </a:t>
          </a:r>
          <a:endParaRPr lang="en-US" sz="1500" kern="1200" dirty="0"/>
        </a:p>
      </dsp:txBody>
      <dsp:txXfrm>
        <a:off x="460128" y="312440"/>
        <a:ext cx="5580684" cy="625205"/>
      </dsp:txXfrm>
    </dsp:sp>
    <dsp:sp modelId="{0CB06EBD-5793-480D-B6B0-6C24099BFD14}">
      <dsp:nvSpPr>
        <dsp:cNvPr id="0" name=""/>
        <dsp:cNvSpPr/>
      </dsp:nvSpPr>
      <dsp:spPr>
        <a:xfrm>
          <a:off x="69375" y="234289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2935DF-2966-4C88-A5A5-F4B059CCBABB}">
      <dsp:nvSpPr>
        <dsp:cNvPr id="0" name=""/>
        <dsp:cNvSpPr/>
      </dsp:nvSpPr>
      <dsp:spPr>
        <a:xfrm>
          <a:off x="818573" y="1250411"/>
          <a:ext cx="5222240" cy="625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625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t is a full fledge object in kubernetes which is defined in manifest and posted to  API Server</a:t>
          </a:r>
          <a:endParaRPr lang="en-US" sz="1500" kern="1200" dirty="0"/>
        </a:p>
      </dsp:txBody>
      <dsp:txXfrm>
        <a:off x="818573" y="1250411"/>
        <a:ext cx="5222240" cy="625205"/>
      </dsp:txXfrm>
    </dsp:sp>
    <dsp:sp modelId="{4976A530-030B-4799-8688-4B81FA4D6DEE}">
      <dsp:nvSpPr>
        <dsp:cNvPr id="0" name=""/>
        <dsp:cNvSpPr/>
      </dsp:nvSpPr>
      <dsp:spPr>
        <a:xfrm>
          <a:off x="427819" y="1172260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968E38-7F7C-4043-8BBF-D2110DD06F3D}">
      <dsp:nvSpPr>
        <dsp:cNvPr id="0" name=""/>
        <dsp:cNvSpPr/>
      </dsp:nvSpPr>
      <dsp:spPr>
        <a:xfrm>
          <a:off x="818573" y="2188382"/>
          <a:ext cx="5222240" cy="625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625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eployment leverage another object Replica Set</a:t>
          </a:r>
          <a:endParaRPr lang="en-US" sz="1500" kern="1200" dirty="0"/>
        </a:p>
      </dsp:txBody>
      <dsp:txXfrm>
        <a:off x="818573" y="2188382"/>
        <a:ext cx="5222240" cy="625205"/>
      </dsp:txXfrm>
    </dsp:sp>
    <dsp:sp modelId="{0F2F2D0B-071D-4A0D-952C-62C68FE9E937}">
      <dsp:nvSpPr>
        <dsp:cNvPr id="0" name=""/>
        <dsp:cNvSpPr/>
      </dsp:nvSpPr>
      <dsp:spPr>
        <a:xfrm>
          <a:off x="427819" y="2110232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65D891-B955-41DD-AC33-8132F513A9B6}">
      <dsp:nvSpPr>
        <dsp:cNvPr id="0" name=""/>
        <dsp:cNvSpPr/>
      </dsp:nvSpPr>
      <dsp:spPr>
        <a:xfrm>
          <a:off x="460128" y="3126353"/>
          <a:ext cx="5580684" cy="6252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6257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eployment use Replica set to provide self healing  and scaling.</a:t>
          </a:r>
          <a:endParaRPr lang="en-US" sz="1500" kern="1200" dirty="0"/>
        </a:p>
      </dsp:txBody>
      <dsp:txXfrm>
        <a:off x="460128" y="3126353"/>
        <a:ext cx="5580684" cy="625205"/>
      </dsp:txXfrm>
    </dsp:sp>
    <dsp:sp modelId="{DE48FF9F-03A8-42FB-B5FC-A439C9DF1364}">
      <dsp:nvSpPr>
        <dsp:cNvPr id="0" name=""/>
        <dsp:cNvSpPr/>
      </dsp:nvSpPr>
      <dsp:spPr>
        <a:xfrm>
          <a:off x="69375" y="3048203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55AD5-A554-4A5B-A1F0-F081ED4AB289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176B8-8888-493B-BEA4-69FAD50B2586}">
      <dsp:nvSpPr>
        <dsp:cNvPr id="0" name=""/>
        <dsp:cNvSpPr/>
      </dsp:nvSpPr>
      <dsp:spPr>
        <a:xfrm>
          <a:off x="564979" y="406400"/>
          <a:ext cx="5475833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b="0" i="0" kern="1200" dirty="0" smtClean="0"/>
            <a:t>A Deployment can schedule multiple pods. A pod as a unit cannot scale by itself.</a:t>
          </a:r>
          <a:endParaRPr lang="en-US" sz="1400" kern="1200" dirty="0"/>
        </a:p>
      </dsp:txBody>
      <dsp:txXfrm>
        <a:off x="564979" y="406400"/>
        <a:ext cx="5475833" cy="812800"/>
      </dsp:txXfrm>
    </dsp:sp>
    <dsp:sp modelId="{0CB06EBD-5793-480D-B6B0-6C24099BFD14}">
      <dsp:nvSpPr>
        <dsp:cNvPr id="0" name=""/>
        <dsp:cNvSpPr/>
      </dsp:nvSpPr>
      <dsp:spPr>
        <a:xfrm>
          <a:off x="56979" y="3048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0BC141-BA82-4360-8226-606861F8DE4B}">
      <dsp:nvSpPr>
        <dsp:cNvPr id="0" name=""/>
        <dsp:cNvSpPr/>
      </dsp:nvSpPr>
      <dsp:spPr>
        <a:xfrm>
          <a:off x="860432" y="1625599"/>
          <a:ext cx="5180380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b="0" i="0" kern="1200" smtClean="0"/>
            <a:t>A Deployment represents a single purpose with a group of PODs.</a:t>
          </a:r>
          <a:endParaRPr lang="en-US" sz="1400" kern="1200" dirty="0"/>
        </a:p>
      </dsp:txBody>
      <dsp:txXfrm>
        <a:off x="860432" y="1625599"/>
        <a:ext cx="5180380" cy="812800"/>
      </dsp:txXfrm>
    </dsp:sp>
    <dsp:sp modelId="{0F2F2D0B-071D-4A0D-952C-62C68FE9E937}">
      <dsp:nvSpPr>
        <dsp:cNvPr id="0" name=""/>
        <dsp:cNvSpPr/>
      </dsp:nvSpPr>
      <dsp:spPr>
        <a:xfrm>
          <a:off x="352432" y="1523999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68CBB0-6635-47E8-9E8C-68668F9687E7}">
      <dsp:nvSpPr>
        <dsp:cNvPr id="0" name=""/>
        <dsp:cNvSpPr/>
      </dsp:nvSpPr>
      <dsp:spPr>
        <a:xfrm>
          <a:off x="564979" y="2844800"/>
          <a:ext cx="5475833" cy="812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400" b="0" i="0" kern="1200" dirty="0" smtClean="0"/>
            <a:t>A single POD can have multiple containers and these containers inside a single POD shares the same IP and can talk to each other using localhost address.</a:t>
          </a:r>
          <a:endParaRPr lang="en-US" sz="1400" kern="1200" dirty="0"/>
        </a:p>
      </dsp:txBody>
      <dsp:txXfrm>
        <a:off x="564979" y="2844800"/>
        <a:ext cx="5475833" cy="812800"/>
      </dsp:txXfrm>
    </dsp:sp>
    <dsp:sp modelId="{DE48FF9F-03A8-42FB-B5FC-A439C9DF1364}">
      <dsp:nvSpPr>
        <dsp:cNvPr id="0" name=""/>
        <dsp:cNvSpPr/>
      </dsp:nvSpPr>
      <dsp:spPr>
        <a:xfrm>
          <a:off x="56979" y="27432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55AD5-A554-4A5B-A1F0-F081ED4AB289}">
      <dsp:nvSpPr>
        <dsp:cNvPr id="0" name=""/>
        <dsp:cNvSpPr/>
      </dsp:nvSpPr>
      <dsp:spPr>
        <a:xfrm>
          <a:off x="-4560586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176B8-8888-493B-BEA4-69FAD50B2586}">
      <dsp:nvSpPr>
        <dsp:cNvPr id="0" name=""/>
        <dsp:cNvSpPr/>
      </dsp:nvSpPr>
      <dsp:spPr>
        <a:xfrm>
          <a:off x="747064" y="580583"/>
          <a:ext cx="5327497" cy="11610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1547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0" i="0" kern="1200" dirty="0" smtClean="0"/>
            <a:t>To access a Deployment with one or many PODs, you need a Kubernetes Service endpoint mapped to the deployment using labels and selectors.</a:t>
          </a:r>
          <a:endParaRPr lang="en-US" sz="1700" kern="1200" dirty="0"/>
        </a:p>
      </dsp:txBody>
      <dsp:txXfrm>
        <a:off x="747064" y="580583"/>
        <a:ext cx="5327497" cy="1161003"/>
      </dsp:txXfrm>
    </dsp:sp>
    <dsp:sp modelId="{0CB06EBD-5793-480D-B6B0-6C24099BFD14}">
      <dsp:nvSpPr>
        <dsp:cNvPr id="0" name=""/>
        <dsp:cNvSpPr/>
      </dsp:nvSpPr>
      <dsp:spPr>
        <a:xfrm>
          <a:off x="21437" y="435457"/>
          <a:ext cx="1451254" cy="14512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0BC141-BA82-4360-8226-606861F8DE4B}">
      <dsp:nvSpPr>
        <dsp:cNvPr id="0" name=""/>
        <dsp:cNvSpPr/>
      </dsp:nvSpPr>
      <dsp:spPr>
        <a:xfrm>
          <a:off x="747064" y="2322413"/>
          <a:ext cx="5327497" cy="11610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1547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0" i="0" kern="1200" dirty="0" smtClean="0"/>
            <a:t>A deployment should have only stateless services. Any application that requires state management should be deployed as a Kubernetes </a:t>
          </a:r>
          <a:r>
            <a:rPr lang="en-IN" sz="1700" b="0" i="0" kern="1200" dirty="0" err="1" smtClean="0"/>
            <a:t>StatefulSet</a:t>
          </a:r>
          <a:r>
            <a:rPr lang="en-IN" sz="1700" b="0" i="0" kern="1200" dirty="0" smtClean="0"/>
            <a:t>.</a:t>
          </a:r>
          <a:endParaRPr lang="en-US" sz="1700" kern="1200" dirty="0"/>
        </a:p>
      </dsp:txBody>
      <dsp:txXfrm>
        <a:off x="747064" y="2322413"/>
        <a:ext cx="5327497" cy="1161003"/>
      </dsp:txXfrm>
    </dsp:sp>
    <dsp:sp modelId="{0F2F2D0B-071D-4A0D-952C-62C68FE9E937}">
      <dsp:nvSpPr>
        <dsp:cNvPr id="0" name=""/>
        <dsp:cNvSpPr/>
      </dsp:nvSpPr>
      <dsp:spPr>
        <a:xfrm>
          <a:off x="21437" y="2177288"/>
          <a:ext cx="1451254" cy="14512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055AD5-A554-4A5B-A1F0-F081ED4AB289}">
      <dsp:nvSpPr>
        <dsp:cNvPr id="0" name=""/>
        <dsp:cNvSpPr/>
      </dsp:nvSpPr>
      <dsp:spPr>
        <a:xfrm>
          <a:off x="-4560586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176B8-8888-493B-BEA4-69FAD50B2586}">
      <dsp:nvSpPr>
        <dsp:cNvPr id="0" name=""/>
        <dsp:cNvSpPr/>
      </dsp:nvSpPr>
      <dsp:spPr>
        <a:xfrm>
          <a:off x="747064" y="580583"/>
          <a:ext cx="5327497" cy="11610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1547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0" i="0" kern="1200" dirty="0" smtClean="0"/>
            <a:t>To access a Deployment with one or many PODs, you need a Kubernetes Service endpoint mapped to the deployment using labels and selectors.</a:t>
          </a:r>
          <a:endParaRPr lang="en-US" sz="1700" kern="1200" dirty="0"/>
        </a:p>
      </dsp:txBody>
      <dsp:txXfrm>
        <a:off x="747064" y="580583"/>
        <a:ext cx="5327497" cy="1161003"/>
      </dsp:txXfrm>
    </dsp:sp>
    <dsp:sp modelId="{0CB06EBD-5793-480D-B6B0-6C24099BFD14}">
      <dsp:nvSpPr>
        <dsp:cNvPr id="0" name=""/>
        <dsp:cNvSpPr/>
      </dsp:nvSpPr>
      <dsp:spPr>
        <a:xfrm>
          <a:off x="21437" y="435457"/>
          <a:ext cx="1451254" cy="14512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0BC141-BA82-4360-8226-606861F8DE4B}">
      <dsp:nvSpPr>
        <dsp:cNvPr id="0" name=""/>
        <dsp:cNvSpPr/>
      </dsp:nvSpPr>
      <dsp:spPr>
        <a:xfrm>
          <a:off x="747064" y="2322413"/>
          <a:ext cx="5327497" cy="116100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1547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0" i="0" kern="1200" dirty="0" smtClean="0"/>
            <a:t>A deployment should have only stateless services. Any application that requires state management should be deployed as a Kubernetes </a:t>
          </a:r>
          <a:r>
            <a:rPr lang="en-IN" sz="1700" b="0" i="0" kern="1200" dirty="0" err="1" smtClean="0"/>
            <a:t>StatefulSet</a:t>
          </a:r>
          <a:r>
            <a:rPr lang="en-IN" sz="1700" b="0" i="0" kern="1200" dirty="0" smtClean="0"/>
            <a:t>.</a:t>
          </a:r>
          <a:endParaRPr lang="en-US" sz="1700" kern="1200" dirty="0"/>
        </a:p>
      </dsp:txBody>
      <dsp:txXfrm>
        <a:off x="747064" y="2322413"/>
        <a:ext cx="5327497" cy="1161003"/>
      </dsp:txXfrm>
    </dsp:sp>
    <dsp:sp modelId="{0F2F2D0B-071D-4A0D-952C-62C68FE9E937}">
      <dsp:nvSpPr>
        <dsp:cNvPr id="0" name=""/>
        <dsp:cNvSpPr/>
      </dsp:nvSpPr>
      <dsp:spPr>
        <a:xfrm>
          <a:off x="21437" y="2177288"/>
          <a:ext cx="1451254" cy="14512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3/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361954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68510" y="55179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JPA with Hibernate 3.0			                  The Persistence Life Cycle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688666"/>
            <a:ext cx="2762530" cy="253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2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kubernetes.io/docs/concepts/architecture/controller/" TargetMode="External"/><Relationship Id="rId4" Type="http://schemas.openxmlformats.org/officeDocument/2006/relationships/hyperlink" Target="https://kubernetes.io/docs/concepts/workloads/controllers/replicaset/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824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IN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18546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IN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162817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IN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14976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41791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604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 </a:t>
            </a:r>
            <a:r>
              <a:rPr lang="en-IN" sz="1000" b="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ployment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provides declarative updates for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Pod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nd </a:t>
            </a:r>
            <a:r>
              <a:rPr lang="en-IN" sz="10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4"/>
              </a:rPr>
              <a:t>ReplicaSe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describe a </a:t>
            </a:r>
            <a:r>
              <a:rPr lang="en-IN" sz="1000" b="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ired state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n a Deployment, and the Deployment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5"/>
              </a:rPr>
              <a:t>Controller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hanges the actual state to the desired state at a controlled ra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define Deployments to create new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plicaSe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or to remove existing Deployments and adopt all their resources with new Deploy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Kubernetes deployment is an abstraction layer for the pod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main purpose of the deployment object is to maintain the resources declared in the deployment configuration in its desired stat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 deployment configuration can be of </a:t>
            </a:r>
            <a:r>
              <a:rPr lang="en-IN" dirty="0" smtClean="0"/>
              <a:t>YAML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r </a:t>
            </a:r>
            <a:r>
              <a:rPr lang="en-IN" dirty="0" smtClean="0"/>
              <a:t>JSO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rma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87626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000" b="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 Deployment is responsible for creating and updating instances of your applic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29697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22488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41697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plication Controller is one of the key features of Kubernetes, which is responsible for managing the pod lifecycl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is responsible for making sure that the specified number of pod replicas are running at any point of ti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is used in time when one wants to make sure that the specified number of pod or at least one pod is runn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has the capability to bring up or down the specified no of pod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4502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000" b="1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plicaSet</a:t>
            </a:r>
            <a:endParaRPr lang="en-IN" sz="1000" b="1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A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plicaSet'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purpose is to maintain a stable set of replica Pods running at any given time. 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As such, it is often used to guarantee the availability of a specified number of identical Pods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Replica Set ensures how many replica of pod should be running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 It can be considered as a replacement of replication controller. 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The key difference between the replica set and the replication controller is, 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the replication controller only supports equality-based selector [it match exact label phrase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whereas the replica set supports set-based selector.[set base selector allows filtering keys according to a set of values. 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So, in other words, the selector based selector will look for pods whose label has been mentioned in the set.</a:t>
            </a:r>
            <a:b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Say your label key says app in (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ginx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NPS, Apache). Then, with this selector, if your app is equal to any of 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ginx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NPS, or Apache, 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      then the selector will take it as a true result.]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9772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IN" dirty="0" smtClean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8569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31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rse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03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274820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35545725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346197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67920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6445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3154442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30895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390759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70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9" r:id="rId6"/>
    <p:sldLayoutId id="2147483740" r:id="rId7"/>
    <p:sldLayoutId id="2147483741" r:id="rId8"/>
    <p:sldLayoutId id="2147483742" r:id="rId9"/>
    <p:sldLayoutId id="2147483743" r:id="rId10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85880" y="3221026"/>
            <a:ext cx="6067686" cy="927423"/>
          </a:xfrm>
        </p:spPr>
        <p:txBody>
          <a:bodyPr>
            <a:normAutofit/>
          </a:bodyPr>
          <a:lstStyle/>
          <a:p>
            <a:endParaRPr lang="en-US" sz="2400" b="0" dirty="0" smtClean="0"/>
          </a:p>
          <a:p>
            <a:endParaRPr lang="en-US" sz="2400" dirty="0"/>
          </a:p>
          <a:p>
            <a:r>
              <a:rPr lang="en-US" sz="2400" b="0" dirty="0" smtClean="0"/>
              <a:t>Lesson 05 – Kubernetes </a:t>
            </a:r>
            <a:r>
              <a:rPr lang="en-US" sz="2400" b="0" smtClean="0"/>
              <a:t>Deploynment</a:t>
            </a:r>
            <a:endParaRPr lang="en-US" sz="24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Module Overview</a:t>
            </a:r>
            <a:endParaRPr lang="en-I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01" y="841249"/>
            <a:ext cx="8498541" cy="543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1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Create </a:t>
            </a:r>
            <a:r>
              <a:rPr lang="en-IN" dirty="0" err="1" smtClean="0"/>
              <a:t>Deploynement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812" y="1255059"/>
            <a:ext cx="8193741" cy="537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56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516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 Deployment  YAML Demo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717589"/>
            <a:ext cx="7041398" cy="4420928"/>
          </a:xfrm>
        </p:spPr>
        <p:txBody>
          <a:bodyPr/>
          <a:lstStyle/>
          <a:p>
            <a:endParaRPr lang="en-IN" dirty="0" smtClean="0"/>
          </a:p>
          <a:p>
            <a:r>
              <a:rPr lang="en-IN" dirty="0" smtClean="0"/>
              <a:t>002-MySQLDep-Without-PV-Headless-W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137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285580"/>
              </p:ext>
            </p:extLst>
          </p:nvPr>
        </p:nvGraphicFramePr>
        <p:xfrm>
          <a:off x="96744" y="735667"/>
          <a:ext cx="6794500" cy="39976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Module Overview</a:t>
            </a:r>
            <a:endParaRPr lang="en-IN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88488568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9023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98264" cy="623538"/>
          </a:xfrm>
        </p:spPr>
        <p:txBody>
          <a:bodyPr>
            <a:normAutofit/>
          </a:bodyPr>
          <a:lstStyle/>
          <a:p>
            <a:r>
              <a:rPr lang="en-IN" b="1" dirty="0" smtClean="0"/>
              <a:t>Kubernetes Deployment – Key Things to understand About Deployments</a:t>
            </a:r>
            <a:endParaRPr lang="en-IN" b="1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6387191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43521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98264" cy="623538"/>
          </a:xfrm>
        </p:spPr>
        <p:txBody>
          <a:bodyPr>
            <a:normAutofit/>
          </a:bodyPr>
          <a:lstStyle/>
          <a:p>
            <a:r>
              <a:rPr lang="en-IN" b="1" dirty="0" smtClean="0"/>
              <a:t>Kubernetes Deployment – Key Things to understand About Deployments</a:t>
            </a:r>
            <a:endParaRPr lang="en-IN" b="1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61124116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8373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98264" cy="623538"/>
          </a:xfrm>
        </p:spPr>
        <p:txBody>
          <a:bodyPr>
            <a:normAutofit/>
          </a:bodyPr>
          <a:lstStyle/>
          <a:p>
            <a:r>
              <a:rPr lang="en-IN" b="1" dirty="0" smtClean="0"/>
              <a:t>Kubernetes Deployment – </a:t>
            </a:r>
            <a:r>
              <a:rPr lang="en-IN" b="1" dirty="0"/>
              <a:t>Deployment YAML: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4969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21" y="244549"/>
            <a:ext cx="8452329" cy="382772"/>
          </a:xfrm>
        </p:spPr>
        <p:txBody>
          <a:bodyPr>
            <a:normAutofit fontScale="90000"/>
          </a:bodyPr>
          <a:lstStyle/>
          <a:p>
            <a:r>
              <a:rPr lang="en-IN" b="1" dirty="0" smtClean="0"/>
              <a:t>Kubernetes Deployment – Module Overview-Replication Controller</a:t>
            </a:r>
            <a:endParaRPr lang="en-IN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835" y="841250"/>
            <a:ext cx="8105615" cy="559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494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Replica Sets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414" y="1021976"/>
            <a:ext cx="8373036" cy="537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108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3"/>
            <a:ext cx="8312649" cy="422796"/>
          </a:xfrm>
        </p:spPr>
        <p:txBody>
          <a:bodyPr/>
          <a:lstStyle/>
          <a:p>
            <a:r>
              <a:rPr lang="en-IN" dirty="0" smtClean="0"/>
              <a:t>Kubernetes Deployment – Module Overview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235" y="950259"/>
            <a:ext cx="8319247" cy="5540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2" ma:contentTypeDescription="Create a new document." ma:contentTypeScope="" ma:versionID="db045e7d1992db9cfc8b663ee4dda2d2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a2bd43f3c01a0467341ff5ba4dd99e21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95653B50-DEFA-489C-87A2-6C0A2994D7A9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33</TotalTime>
  <Words>685</Words>
  <Application>Microsoft Office PowerPoint</Application>
  <PresentationFormat>On-screen Show (4:3)</PresentationFormat>
  <Paragraphs>5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Verdana</vt:lpstr>
      <vt:lpstr>Wingdings</vt:lpstr>
      <vt:lpstr>Section slides</vt:lpstr>
      <vt:lpstr>think-cell Slide</vt:lpstr>
      <vt:lpstr>PowerPoint Presentation</vt:lpstr>
      <vt:lpstr>Lesson Objectives</vt:lpstr>
      <vt:lpstr>Kubernetes Deployment – Module Overview</vt:lpstr>
      <vt:lpstr>Kubernetes Deployment – Key Things to understand About Deployments</vt:lpstr>
      <vt:lpstr>Kubernetes Deployment – Key Things to understand About Deployments</vt:lpstr>
      <vt:lpstr>Kubernetes Deployment – Deployment YAML:</vt:lpstr>
      <vt:lpstr>Kubernetes Deployment – Module Overview-Replication Controller</vt:lpstr>
      <vt:lpstr>Kubernetes Deployment – Replica Sets</vt:lpstr>
      <vt:lpstr>Kubernetes Deployment – Module Overview</vt:lpstr>
      <vt:lpstr>Kubernetes Deployment – Module Overview</vt:lpstr>
      <vt:lpstr>Kubernetes Deployment – Create Deploynement</vt:lpstr>
      <vt:lpstr>Kubernetes Deployment –  Deployment  YAML Demo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</dc:title>
  <dc:creator>iGATE</dc:creator>
  <cp:lastModifiedBy>Srivastava, Vaishali</cp:lastModifiedBy>
  <cp:revision>312</cp:revision>
  <dcterms:created xsi:type="dcterms:W3CDTF">2012-05-18T02:59:15Z</dcterms:created>
  <dcterms:modified xsi:type="dcterms:W3CDTF">2021-03-09T06:4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